
<file path=[Content_Types].xml><?xml version="1.0" encoding="utf-8"?>
<Types xmlns="http://schemas.openxmlformats.org/package/2006/content-types"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media/image17.jpg" ContentType="image/pn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60" r:id="rId1"/>
  </p:sldMasterIdLst>
  <p:notesMasterIdLst>
    <p:notesMasterId r:id="rId21"/>
  </p:notesMasterIdLst>
  <p:handoutMasterIdLst>
    <p:handoutMasterId r:id="rId22"/>
  </p:handoutMasterIdLst>
  <p:sldIdLst>
    <p:sldId id="1437" r:id="rId2"/>
    <p:sldId id="358" r:id="rId3"/>
    <p:sldId id="1441" r:id="rId4"/>
    <p:sldId id="1405" r:id="rId5"/>
    <p:sldId id="1435" r:id="rId6"/>
    <p:sldId id="1436" r:id="rId7"/>
    <p:sldId id="1442" r:id="rId8"/>
    <p:sldId id="360" r:id="rId9"/>
    <p:sldId id="361" r:id="rId10"/>
    <p:sldId id="363" r:id="rId11"/>
    <p:sldId id="1445" r:id="rId12"/>
    <p:sldId id="1443" r:id="rId13"/>
    <p:sldId id="364" r:id="rId14"/>
    <p:sldId id="1444" r:id="rId15"/>
    <p:sldId id="365" r:id="rId16"/>
    <p:sldId id="1449" r:id="rId17"/>
    <p:sldId id="1448" r:id="rId18"/>
    <p:sldId id="367" r:id="rId19"/>
    <p:sldId id="300" r:id="rId20"/>
  </p:sldIdLst>
  <p:sldSz cx="9144000" cy="5715000" type="screen16x10"/>
  <p:notesSz cx="6797675" cy="9928225"/>
  <p:custDataLst>
    <p:tags r:id="rId23"/>
  </p:custDataLst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07">
          <p15:clr>
            <a:srgbClr val="A4A3A4"/>
          </p15:clr>
        </p15:guide>
        <p15:guide id="2" orient="horz" pos="3342" userDrawn="1">
          <p15:clr>
            <a:srgbClr val="A4A3A4"/>
          </p15:clr>
        </p15:guide>
        <p15:guide id="3" pos="158" userDrawn="1">
          <p15:clr>
            <a:srgbClr val="A4A3A4"/>
          </p15:clr>
        </p15:guide>
        <p15:guide id="4" pos="5465">
          <p15:clr>
            <a:srgbClr val="A4A3A4"/>
          </p15:clr>
        </p15:guide>
        <p15:guide id="5" orient="horz" pos="8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8" name="Autor" initials="A" lastIdx="0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19E"/>
    <a:srgbClr val="FF0000"/>
    <a:srgbClr val="00549F"/>
    <a:srgbClr val="68727F"/>
    <a:srgbClr val="C5C2C1"/>
    <a:srgbClr val="E51C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787" autoAdjust="0"/>
    <p:restoredTop sz="80321" autoAdjust="0"/>
  </p:normalViewPr>
  <p:slideViewPr>
    <p:cSldViewPr snapToGrid="0">
      <p:cViewPr>
        <p:scale>
          <a:sx n="125" d="100"/>
          <a:sy n="125" d="100"/>
        </p:scale>
        <p:origin x="366" y="606"/>
      </p:cViewPr>
      <p:guideLst>
        <p:guide orient="horz" pos="1007"/>
        <p:guide orient="horz" pos="3342"/>
        <p:guide pos="158"/>
        <p:guide pos="5465"/>
        <p:guide orient="horz" pos="8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456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64194" y="263916"/>
            <a:ext cx="5851979" cy="49813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300"/>
            </a:lvl1pPr>
          </a:lstStyle>
          <a:p>
            <a:r>
              <a:rPr lang="en-US" b="1"/>
              <a:t>Titel der Präsenta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435271" y="9530632"/>
            <a:ext cx="642300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300"/>
            </a:lvl1pPr>
          </a:lstStyle>
          <a:p>
            <a:pPr algn="l"/>
            <a:fld id="{9C97F9CE-579E-471A-902C-B27A196822AA}" type="datetime1">
              <a:rPr lang="de-DE" sz="900" smtClean="0"/>
              <a:t>30.06.2022</a:t>
            </a:fld>
            <a:endParaRPr lang="en-US" sz="9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64195" y="9530634"/>
            <a:ext cx="4460416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300"/>
            </a:lvl1pPr>
          </a:lstStyle>
          <a:p>
            <a:r>
              <a:rPr lang="en-US" sz="900"/>
              <a:t>Universität Stuttgar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215041" y="9530634"/>
            <a:ext cx="356834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300"/>
            </a:lvl1pPr>
          </a:lstStyle>
          <a:p>
            <a:pPr algn="l"/>
            <a:fld id="{EE9A79A6-2547-4C8F-B0ED-316280A1A122}" type="slidenum">
              <a:rPr lang="en-US" sz="900"/>
              <a:pPr algn="l"/>
              <a:t>‹Nr.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2561533372"/>
      </p:ext>
    </p:extLst>
  </p:cSld>
  <p:clrMap bg1="lt1" tx1="dk1" bg2="lt2" tx2="dk2" accent1="accent1" accent2="accent2" accent3="accent3" accent4="accent4" accent5="accent5" accent6="accent6" hlink="hlink" folHlink="folHlink"/>
  <p:hf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92" userDrawn="1">
          <p15:clr>
            <a:srgbClr val="F26B43"/>
          </p15:clr>
        </p15:guide>
        <p15:guide id="3" pos="3979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63885" y="265796"/>
            <a:ext cx="5852066" cy="49813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300" b="1"/>
            </a:lvl1pPr>
          </a:lstStyle>
          <a:p>
            <a:r>
              <a:rPr lang="en-US"/>
              <a:t>Titel der Präsenta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434571" y="9529534"/>
            <a:ext cx="642300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/>
            </a:lvl1pPr>
          </a:lstStyle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64194" y="941334"/>
            <a:ext cx="5851979" cy="3659221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lIns="95542" tIns="47771" rIns="95542" bIns="47771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64194" y="4777959"/>
            <a:ext cx="5851979" cy="390923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63885" y="9529534"/>
            <a:ext cx="4460416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/>
            </a:lvl1pPr>
          </a:lstStyle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216037" y="9529534"/>
            <a:ext cx="356834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/>
            </a:lvl1pPr>
          </a:lstStyle>
          <a:p>
            <a:fld id="{05DD1DF0-DD4E-4B0C-B0FD-D16D9D2A9750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98570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80975" indent="-180975" algn="l" defTabSz="713232" rtl="0" eaLnBrk="1" latinLnBrk="0" hangingPunct="1">
      <a:lnSpc>
        <a:spcPct val="120000"/>
      </a:lnSpc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58775" indent="-177800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538163" indent="-179388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719138" indent="-180975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896938" indent="-177800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92" userDrawn="1">
          <p15:clr>
            <a:srgbClr val="F26B43"/>
          </p15:clr>
        </p15:guide>
        <p15:guide id="3" pos="397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mmornati?utm_source=unsplash&amp;utm_medium=referral&amp;utm_content=creditCopyText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s/photos/wine-bottle?utm_source=unsplash&amp;utm_medium=referral&amp;utm_content=creditCopyText" TargetMode="External"/><Relationship Id="rId5" Type="http://schemas.openxmlformats.org/officeDocument/2006/relationships/hyperlink" Target="https://unsplash.com/@dancristianpaduret?utm_source=unsplash&amp;utm_medium=referral&amp;utm_content=creditCopyText" TargetMode="External"/><Relationship Id="rId4" Type="http://schemas.openxmlformats.org/officeDocument/2006/relationships/hyperlink" Target="https://unsplash.com/s/photos/old-wine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llo everybody, and welcome to my talk at ECMFA 22</a:t>
            </a:r>
          </a:p>
          <a:p>
            <a:r>
              <a:rPr lang="en-US" dirty="0"/>
              <a:t>Name</a:t>
            </a:r>
          </a:p>
          <a:p>
            <a:r>
              <a:rPr lang="en-US" dirty="0"/>
              <a:t>research assistant at university of Stuttgart</a:t>
            </a:r>
          </a:p>
          <a:p>
            <a:r>
              <a:rPr lang="en-US" dirty="0"/>
              <a:t>Present the joint paper of my co-authors, Daniel Lehner, Manuel Wimmer from JKU Linz, and Andreas Wortmann and me from ISW of the university of Stuttgart.</a:t>
            </a:r>
          </a:p>
          <a:p>
            <a:r>
              <a:rPr lang="en-US" dirty="0"/>
              <a:t>Paper Title</a:t>
            </a: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 err="1"/>
              <a:t>Titel</a:t>
            </a:r>
            <a:r>
              <a:rPr lang="en-US" dirty="0"/>
              <a:t> der </a:t>
            </a:r>
            <a:r>
              <a:rPr lang="en-US" dirty="0" err="1"/>
              <a:t>Präsentation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D50D179-0C32-40B9-8C29-321E8BD7AB3F}" type="datetime1">
              <a:rPr lang="de-DE" smtClean="0"/>
              <a:t>30.06.2022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niversität Stuttgar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7523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overed: most concepts found in platforms are available in UML CD</a:t>
            </a:r>
          </a:p>
          <a:p>
            <a:r>
              <a:rPr lang="en-US" dirty="0"/>
              <a:t>Therefore: RQ3 </a:t>
            </a:r>
          </a:p>
          <a:p>
            <a:r>
              <a:rPr lang="en-US" dirty="0"/>
              <a:t>With this, we could model the data structures platform independent and transform to platform-specific models</a:t>
            </a: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7384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nsformations realized with ATL on </a:t>
            </a:r>
            <a:r>
              <a:rPr lang="en-US" dirty="0" err="1"/>
              <a:t>Ecore</a:t>
            </a:r>
            <a:r>
              <a:rPr lang="en-US" dirty="0"/>
              <a:t> metamodels</a:t>
            </a:r>
          </a:p>
          <a:p>
            <a:r>
              <a:rPr lang="en-US" dirty="0"/>
              <a:t>Platform-specific translation into concrete platform models</a:t>
            </a: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47B8B8D-0B39-4AB2-8E95-134A5C4A79DA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0250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Clr>
                <a:srgbClr val="00519E"/>
              </a:buClr>
            </a:pPr>
            <a:r>
              <a:rPr lang="en-US" dirty="0"/>
              <a:t>All elements are extended with</a:t>
            </a:r>
          </a:p>
          <a:p>
            <a:pPr lvl="1">
              <a:buClr>
                <a:srgbClr val="00519E"/>
              </a:buClr>
            </a:pPr>
            <a:r>
              <a:rPr lang="en-US" dirty="0" err="1"/>
              <a:t>displayName</a:t>
            </a:r>
            <a:r>
              <a:rPr lang="en-US" dirty="0"/>
              <a:t> (DTDL)</a:t>
            </a:r>
          </a:p>
          <a:p>
            <a:pPr lvl="1">
              <a:buClr>
                <a:srgbClr val="00519E"/>
              </a:buClr>
            </a:pPr>
            <a:r>
              <a:rPr lang="en-US" dirty="0"/>
              <a:t>identifier (DTDL)</a:t>
            </a:r>
          </a:p>
          <a:p>
            <a:pPr lvl="1">
              <a:buClr>
                <a:srgbClr val="00519E"/>
              </a:buClr>
            </a:pPr>
            <a:r>
              <a:rPr lang="en-US" dirty="0"/>
              <a:t>description (DTDL, </a:t>
            </a:r>
            <a:r>
              <a:rPr lang="en-US" dirty="0" err="1"/>
              <a:t>Vortolang</a:t>
            </a:r>
            <a:r>
              <a:rPr lang="en-US" dirty="0"/>
              <a:t>)</a:t>
            </a:r>
          </a:p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47B8B8D-0B39-4AB2-8E95-134A5C4A79DA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8452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cenario: </a:t>
            </a:r>
          </a:p>
          <a:p>
            <a:pPr lvl="1"/>
            <a:r>
              <a:rPr lang="en-US" dirty="0"/>
              <a:t>Robots with controller and attached temperature and CO2 sensor drives around rooms and can give an alert whenever a certain threshold is passed.</a:t>
            </a:r>
          </a:p>
          <a:p>
            <a:pPr lvl="1"/>
            <a:r>
              <a:rPr lang="en-US" dirty="0"/>
              <a:t>Rooms can then activate their ventilation system to improve air quality</a:t>
            </a:r>
          </a:p>
          <a:p>
            <a:pPr lvl="0"/>
            <a:r>
              <a:rPr lang="en-US" dirty="0"/>
              <a:t>Transforming from a DTDL -&gt; DTUML -&gt; TM</a:t>
            </a:r>
          </a:p>
          <a:p>
            <a:pPr lvl="0"/>
            <a:r>
              <a:rPr lang="en-US" dirty="0"/>
              <a:t>But: loose of information that is specific to platforms and not applicable</a:t>
            </a:r>
          </a:p>
          <a:p>
            <a:pPr lvl="1"/>
            <a:r>
              <a:rPr lang="en-US" dirty="0" err="1"/>
              <a:t>isSingleton</a:t>
            </a:r>
            <a:r>
              <a:rPr lang="en-US" dirty="0"/>
              <a:t> not applicable in DTDL</a:t>
            </a:r>
          </a:p>
          <a:p>
            <a:pPr lvl="1"/>
            <a:r>
              <a:rPr lang="en-US" dirty="0"/>
              <a:t>DTDL quantity or </a:t>
            </a:r>
            <a:r>
              <a:rPr lang="en-US" dirty="0" err="1"/>
              <a:t>displayName</a:t>
            </a:r>
            <a:r>
              <a:rPr lang="en-US" dirty="0"/>
              <a:t> are not applicable to TM</a:t>
            </a: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24DA02D-6CC9-4D88-AD41-AC4649A151BB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9486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500" b="0" dirty="0" err="1"/>
              <a:t>Tonspur</a:t>
            </a:r>
            <a:r>
              <a:rPr lang="en-US" sz="500" b="0" dirty="0"/>
              <a:t>: </a:t>
            </a:r>
          </a:p>
          <a:p>
            <a:pPr marL="358775" marR="0" lvl="1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500" b="0" dirty="0"/>
              <a:t>we summarize, the DT languages are indeed just old whine in new bottles. </a:t>
            </a:r>
          </a:p>
          <a:p>
            <a:pPr marL="358775" marR="0" lvl="1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500" b="0" dirty="0"/>
              <a:t>More specific they wrap CD-like data structure description languages into a modern UI and label them as DT DSLs</a:t>
            </a: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500" b="0" dirty="0"/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500" b="0" dirty="0"/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500" b="0" dirty="0"/>
              <a:t>Modeling and Analysis of Real Time Embedded Systems (MARTE)</a:t>
            </a:r>
          </a:p>
          <a:p>
            <a:pPr marL="180975" marR="0" lvl="0" indent="-177800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anguage family including code generation specific to DT platforms</a:t>
            </a:r>
          </a:p>
          <a:p>
            <a:pPr lvl="1"/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AA56A0C-F16B-4856-92C4-8B3A8D56B611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7129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 err="1"/>
              <a:t>Titel</a:t>
            </a:r>
            <a:r>
              <a:rPr lang="en-US" dirty="0"/>
              <a:t> der </a:t>
            </a:r>
            <a:r>
              <a:rPr lang="en-US" dirty="0" err="1"/>
              <a:t>Präsentation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07A8960-FB55-498F-AB94-758AEBF097CD}" type="datetime1">
              <a:rPr lang="de-DE" smtClean="0"/>
              <a:t>30.06.2022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niversität Stuttgar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3941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Modeling languages try to bridge the gap between CPS (domain) experts and software engineering experts</a:t>
            </a: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We investigated three so called digital twin platforms and their provided modelling capabilities and </a:t>
            </a:r>
            <a:r>
              <a:rPr lang="en-US" dirty="0" err="1"/>
              <a:t>analysed</a:t>
            </a:r>
            <a:r>
              <a:rPr lang="en-US" dirty="0"/>
              <a:t> whether they provide completely new modelling techniques or rather existing and known techniques (old wine) but wrapped into these new shining platforms (new bottles)</a:t>
            </a: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Digital Twin Platforms: MS Azure Digital Twins, AWS IoT </a:t>
            </a:r>
            <a:r>
              <a:rPr lang="en-US" dirty="0" err="1"/>
              <a:t>TwinMaker</a:t>
            </a:r>
            <a:r>
              <a:rPr lang="en-US" dirty="0"/>
              <a:t>, Eclipse </a:t>
            </a:r>
            <a:r>
              <a:rPr lang="en-US" dirty="0" err="1"/>
              <a:t>Vorto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180975" indent="-180975">
              <a:buFontTx/>
              <a:buChar char="-"/>
            </a:pPr>
            <a:r>
              <a:rPr lang="en-US" dirty="0"/>
              <a:t>Old wine: Photo by </a:t>
            </a:r>
            <a:r>
              <a:rPr lang="en-US" dirty="0">
                <a:hlinkClick r:id="rId3"/>
              </a:rPr>
              <a:t>Marco </a:t>
            </a:r>
            <a:r>
              <a:rPr lang="en-US" dirty="0" err="1">
                <a:hlinkClick r:id="rId3"/>
              </a:rPr>
              <a:t>Mornati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pPr marL="180975" indent="-180975">
              <a:buFontTx/>
              <a:buChar char="-"/>
            </a:pPr>
            <a:r>
              <a:rPr lang="en-US" dirty="0"/>
              <a:t>New wine: Photo by </a:t>
            </a:r>
            <a:r>
              <a:rPr lang="en-US" dirty="0">
                <a:hlinkClick r:id="rId5"/>
              </a:rPr>
              <a:t>Dan Cristian </a:t>
            </a:r>
            <a:r>
              <a:rPr lang="en-US" dirty="0" err="1">
                <a:hlinkClick r:id="rId5"/>
              </a:rPr>
              <a:t>Pădureț</a:t>
            </a:r>
            <a:r>
              <a:rPr lang="en-US" dirty="0"/>
              <a:t> on </a:t>
            </a:r>
            <a:r>
              <a:rPr lang="en-US" dirty="0" err="1">
                <a:hlinkClick r:id="rId6"/>
              </a:rPr>
              <a:t>Unsplash</a:t>
            </a:r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3B7A02-0D7F-4199-9470-D2252511B20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4131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chemeClr val="tx2"/>
                </a:solidFill>
              </a:rPr>
              <a:t>Querying of data from </a:t>
            </a:r>
            <a:r>
              <a:rPr lang="en-US" dirty="0">
                <a:solidFill>
                  <a:srgbClr val="00519E"/>
                </a:solidFill>
              </a:rPr>
              <a:t>Azure’s cloud and external services </a:t>
            </a:r>
            <a:r>
              <a:rPr lang="en-US" dirty="0">
                <a:solidFill>
                  <a:schemeClr val="tx2"/>
                </a:solidFill>
              </a:rPr>
              <a:t>to perform analysis and computation on received data</a:t>
            </a:r>
          </a:p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247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 enable structured comparison of the DT languages provided by platforms we derive the conceptual metamodels </a:t>
            </a:r>
          </a:p>
          <a:p>
            <a:r>
              <a:rPr lang="en-US" dirty="0"/>
              <a:t>We did not take the concrete syntax into account since we aim for a pure conceptual comparison based on metamodels</a:t>
            </a:r>
          </a:p>
          <a:p>
            <a:pPr lvl="1"/>
            <a:r>
              <a:rPr lang="en-US" dirty="0"/>
              <a:t>We already got a glimpse on concrete syntax with the example models before</a:t>
            </a:r>
          </a:p>
          <a:p>
            <a:pPr lvl="0"/>
            <a:r>
              <a:rPr lang="en-US" dirty="0"/>
              <a:t>In the following: presentation of simplified metamodels of the languages provided by the platforms 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 full metamodel with all attributes, cardinalities etc. is depicted in paper</a:t>
            </a:r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4116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0075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/>
              <a:t>FunctionBlock</a:t>
            </a:r>
            <a:r>
              <a:rPr lang="en-US" dirty="0"/>
              <a:t>: reusable implementation part that contain events, operations, or properties</a:t>
            </a:r>
          </a:p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151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rgbClr val="00519E"/>
                </a:solidFill>
              </a:rPr>
              <a:t>Function</a:t>
            </a:r>
            <a:r>
              <a:rPr lang="en-US" dirty="0"/>
              <a:t>: reference a function for interaction with the described assets</a:t>
            </a: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>
                <a:solidFill>
                  <a:srgbClr val="00519E"/>
                </a:solidFill>
              </a:rPr>
              <a:t>PropertyDefinition</a:t>
            </a:r>
            <a:r>
              <a:rPr lang="en-US" dirty="0"/>
              <a:t>: Defines properties, i.e., attributes of the component</a:t>
            </a:r>
          </a:p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9245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rgbClr val="00519E"/>
                </a:solidFill>
              </a:rPr>
              <a:t>Function</a:t>
            </a:r>
            <a:r>
              <a:rPr lang="en-US" dirty="0"/>
              <a:t>: reference a function for interaction with the described assets</a:t>
            </a: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>
                <a:solidFill>
                  <a:srgbClr val="00519E"/>
                </a:solidFill>
              </a:rPr>
              <a:t>PropertyDefinition</a:t>
            </a:r>
            <a:r>
              <a:rPr lang="en-US" dirty="0"/>
              <a:t>: Defines properties, i.e., attributes of the component</a:t>
            </a:r>
          </a:p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1999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igh-level comparison shows most modeling concepts can also be found in common OOM like UML CD</a:t>
            </a:r>
          </a:p>
          <a:p>
            <a:r>
              <a:rPr lang="en-US" dirty="0" err="1"/>
              <a:t>Vortolang</a:t>
            </a:r>
            <a:r>
              <a:rPr lang="en-US" dirty="0"/>
              <a:t> has only composition, but no associations between function blocks</a:t>
            </a:r>
          </a:p>
          <a:p>
            <a:r>
              <a:rPr lang="en-US" dirty="0"/>
              <a:t>AWS has no composition, just relationships</a:t>
            </a:r>
          </a:p>
          <a:p>
            <a:r>
              <a:rPr lang="en-US" dirty="0"/>
              <a:t>Time-series properties only possible via extension</a:t>
            </a:r>
          </a:p>
          <a:p>
            <a:r>
              <a:rPr lang="en-US" dirty="0"/>
              <a:t>In the paper, we performed a detailed comparison of all these concepts and there </a:t>
            </a:r>
            <a:r>
              <a:rPr lang="en-US" dirty="0" err="1"/>
              <a:t>metaclass</a:t>
            </a:r>
            <a:r>
              <a:rPr lang="en-US" dirty="0"/>
              <a:t> attributes.</a:t>
            </a:r>
          </a:p>
          <a:p>
            <a:pPr lvl="1"/>
            <a:r>
              <a:rPr lang="en-US" dirty="0"/>
              <a:t>Many are covered too </a:t>
            </a:r>
          </a:p>
          <a:p>
            <a:pPr lvl="1"/>
            <a:r>
              <a:rPr lang="en-US" dirty="0"/>
              <a:t>But some concepts are restricted in the platform metamodels: e.g., cardinality of inheritance.</a:t>
            </a:r>
          </a:p>
          <a:p>
            <a:pPr lvl="1"/>
            <a:r>
              <a:rPr lang="en-US" dirty="0"/>
              <a:t>Types of properties are often limited to common types found in OO like primitive data types, String, Collections, Map etc.</a:t>
            </a:r>
          </a:p>
          <a:p>
            <a:pPr lvl="1"/>
            <a:r>
              <a:rPr lang="en-US" dirty="0"/>
              <a:t>From IoT Background of platforms: Measurement Units for properties</a:t>
            </a:r>
          </a:p>
          <a:p>
            <a:pPr lvl="1"/>
            <a:r>
              <a:rPr lang="en-US" dirty="0"/>
              <a:t>AWS and Azure: Reference to other platform services (</a:t>
            </a:r>
            <a:r>
              <a:rPr lang="en-US" dirty="0" err="1"/>
              <a:t>implementedBy</a:t>
            </a:r>
            <a:r>
              <a:rPr lang="en-US" dirty="0"/>
              <a:t> in AWS Function)</a:t>
            </a:r>
          </a:p>
          <a:p>
            <a:pPr lvl="1"/>
            <a:r>
              <a:rPr lang="en-US" dirty="0"/>
              <a:t>Constraining values is possible via OCL or </a:t>
            </a:r>
            <a:r>
              <a:rPr lang="en-US" dirty="0" err="1"/>
              <a:t>enums</a:t>
            </a:r>
            <a:r>
              <a:rPr lang="en-US" dirty="0"/>
              <a:t>/sets of allowed values</a:t>
            </a:r>
          </a:p>
          <a:p>
            <a:pPr lvl="1"/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131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04" y="344529"/>
            <a:ext cx="2136071" cy="431998"/>
          </a:xfrm>
          <a:prstGeom prst="rect">
            <a:avLst/>
          </a:prstGeom>
        </p:spPr>
      </p:pic>
      <p:pic>
        <p:nvPicPr>
          <p:cNvPr id="12" name="Grafik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913" y="533846"/>
            <a:ext cx="851775" cy="397378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>
          <a:xfrm>
            <a:off x="0" y="1407600"/>
            <a:ext cx="9144000" cy="4309200"/>
          </a:xfrm>
          <a:solidFill>
            <a:schemeClr val="bg1">
              <a:lumMod val="85000"/>
            </a:schemeClr>
          </a:solidFill>
        </p:spPr>
        <p:txBody>
          <a:bodyPr lIns="7200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le 1"/>
          <p:cNvSpPr>
            <a:spLocks noGrp="1" noChangeAspect="1"/>
          </p:cNvSpPr>
          <p:nvPr>
            <p:ph type="ctrTitle" hasCustomPrompt="1"/>
          </p:nvPr>
        </p:nvSpPr>
        <p:spPr>
          <a:xfrm>
            <a:off x="4578969" y="1004400"/>
            <a:ext cx="4320000" cy="4320000"/>
          </a:xfrm>
          <a:prstGeom prst="ellipse">
            <a:avLst/>
          </a:prstGeom>
          <a:solidFill>
            <a:schemeClr val="accent3"/>
          </a:solidFill>
        </p:spPr>
        <p:txBody>
          <a:bodyPr wrap="square" lIns="0" tIns="0" rIns="0" bIns="1260000" anchor="b" anchorCtr="0">
            <a:noAutofit/>
          </a:bodyPr>
          <a:lstStyle>
            <a:lvl1pPr marL="0" indent="0" algn="l">
              <a:lnSpc>
                <a:spcPct val="90000"/>
              </a:lnSpc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</a:t>
            </a:r>
            <a:br>
              <a:rPr lang="de-DE" dirty="0"/>
            </a:br>
            <a:r>
              <a:rPr lang="de-DE" dirty="0"/>
              <a:t>hinzufüg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10138" y="3621600"/>
            <a:ext cx="3240688" cy="4284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396488" y="4075200"/>
            <a:ext cx="1274400" cy="1274400"/>
          </a:xfrm>
          <a:prstGeom prst="ellipse">
            <a:avLst/>
          </a:prstGeom>
          <a:solidFill>
            <a:schemeClr val="bg1"/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lnSpc>
                <a:spcPts val="15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name </a:t>
            </a:r>
            <a:br>
              <a:rPr lang="de-DE" dirty="0"/>
            </a:br>
            <a:r>
              <a:rPr lang="de-DE" dirty="0"/>
              <a:t>Nam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996042" y="681643"/>
            <a:ext cx="3940232" cy="415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dirty="0"/>
              <a:t>Institute for Control Engineering of Machine</a:t>
            </a:r>
          </a:p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dirty="0"/>
              <a:t>Tools and Manufacturing Units (ISW)</a:t>
            </a:r>
          </a:p>
        </p:txBody>
      </p:sp>
    </p:spTree>
    <p:extLst>
      <p:ext uri="{BB962C8B-B14F-4D97-AF65-F5344CB8AC3E}">
        <p14:creationId xmlns:p14="http://schemas.microsoft.com/office/powerpoint/2010/main" val="3746232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8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2/3 +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5292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48000" y="1597212"/>
            <a:ext cx="2628000" cy="34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A57E3-023C-4BF2-9998-E0546725F482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692678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Zwe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000" y="1597026"/>
            <a:ext cx="3960000" cy="239148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000" y="1909916"/>
            <a:ext cx="3960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DC559D-D8F9-4AF7-A780-CE537B4D2709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/>
          </p:nvPr>
        </p:nvSpPr>
        <p:spPr>
          <a:xfrm>
            <a:off x="4715688" y="1597026"/>
            <a:ext cx="3960000" cy="239148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4715688" y="1909916"/>
            <a:ext cx="3960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24605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Dre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000" y="1909916"/>
            <a:ext cx="2628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84334-0708-4247-9451-C72370BADDAA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597026"/>
            <a:ext cx="2628000" cy="239148"/>
          </a:xfrm>
        </p:spPr>
        <p:txBody>
          <a:bodyPr lIns="0" tIns="0" rIns="0" bIns="0" anchor="t"/>
          <a:lstStyle>
            <a:lvl1pPr marL="0" indent="0">
              <a:buNone/>
              <a:defRPr lang="de-DE" sz="1400" b="0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Textmasterforma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6048000" y="1597026"/>
            <a:ext cx="2628000" cy="239148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Textmasterformat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3258000" y="1909916"/>
            <a:ext cx="2628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de-DE" sz="18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58000" y="1597026"/>
            <a:ext cx="2628000" cy="239148"/>
          </a:xfrm>
        </p:spPr>
        <p:txBody>
          <a:bodyPr anchor="t"/>
          <a:lstStyle>
            <a:lvl1pPr marL="0" marR="0" indent="0" algn="l" defTabSz="685800" rtl="0" eaLnBrk="1" fontAlgn="auto" latinLnBrk="0" hangingPunct="1">
              <a:lnSpc>
                <a:spcPct val="12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noProof="0" dirty="0"/>
              <a:t>Textmasterformat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/>
          </p:nvPr>
        </p:nvSpPr>
        <p:spPr>
          <a:xfrm>
            <a:off x="6048000" y="1909916"/>
            <a:ext cx="2628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5725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5">
          <p15:clr>
            <a:srgbClr val="FBAE40"/>
          </p15:clr>
        </p15:guide>
        <p15:guide id="2" orient="horz" pos="11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Zweier 2/3+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000" y="1909916"/>
            <a:ext cx="5292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A798DC-0336-44E2-A900-7E855CC826EB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597026"/>
            <a:ext cx="5292000" cy="239148"/>
          </a:xfrm>
        </p:spPr>
        <p:txBody>
          <a:bodyPr lIns="0" tIns="0" rIns="0" bIns="0" anchor="t"/>
          <a:lstStyle>
            <a:lvl1pPr marL="0" indent="0">
              <a:buNone/>
              <a:defRPr lang="de-DE" sz="1400" b="0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Textmasterforma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6048000" y="1597026"/>
            <a:ext cx="2628000" cy="239148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Textmasterforma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de-DE" sz="18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/>
          </p:nvPr>
        </p:nvSpPr>
        <p:spPr>
          <a:xfrm>
            <a:off x="6048000" y="1909916"/>
            <a:ext cx="2628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532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5">
          <p15:clr>
            <a:srgbClr val="FBAE40"/>
          </p15:clr>
        </p15:guide>
        <p15:guide id="2" orient="horz" pos="11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er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5E2CB-A546-4441-A90B-01CFFDF9A6B0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21121" y="1597024"/>
            <a:ext cx="3960000" cy="16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/>
          </p:nvPr>
        </p:nvSpPr>
        <p:spPr>
          <a:xfrm>
            <a:off x="4721121" y="3397525"/>
            <a:ext cx="3960000" cy="16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8416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er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5A3CA-F81B-43C5-94E2-616CB5933344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21121" y="1597024"/>
            <a:ext cx="1915200" cy="34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/>
          </p:nvPr>
        </p:nvSpPr>
        <p:spPr>
          <a:xfrm>
            <a:off x="6760800" y="1597275"/>
            <a:ext cx="1915200" cy="34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68313" y="396000"/>
            <a:ext cx="8207375" cy="27829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71269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A37A4-FA65-41B6-912E-32EDC00E0DDC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21120" y="1597025"/>
            <a:ext cx="3960000" cy="3492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33934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240000" y="1597025"/>
            <a:ext cx="3240000" cy="20592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7"/>
          </p:nvPr>
        </p:nvSpPr>
        <p:spPr>
          <a:xfrm>
            <a:off x="3240000" y="3655800"/>
            <a:ext cx="3240000" cy="20592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8"/>
          </p:nvPr>
        </p:nvSpPr>
        <p:spPr>
          <a:xfrm>
            <a:off x="6480000" y="1597025"/>
            <a:ext cx="2664000" cy="4117976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9"/>
          </p:nvPr>
        </p:nvSpPr>
        <p:spPr>
          <a:xfrm>
            <a:off x="0" y="1597025"/>
            <a:ext cx="3240000" cy="20592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20"/>
          </p:nvPr>
        </p:nvSpPr>
        <p:spPr>
          <a:xfrm>
            <a:off x="0" y="3655800"/>
            <a:ext cx="3240000" cy="20592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3236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E47009-79FC-4721-ADC1-932A91865B9D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482226" y="1605824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482226" y="2800912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7"/>
          <p:cNvSpPr>
            <a:spLocks noGrp="1" noChangeAspect="1"/>
          </p:cNvSpPr>
          <p:nvPr>
            <p:ph type="pic" sz="quarter" idx="19"/>
          </p:nvPr>
        </p:nvSpPr>
        <p:spPr>
          <a:xfrm>
            <a:off x="482226" y="3996000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837189" y="1605824"/>
            <a:ext cx="6838498" cy="108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20" hasCustomPrompt="1"/>
          </p:nvPr>
        </p:nvSpPr>
        <p:spPr>
          <a:xfrm>
            <a:off x="1837189" y="2800912"/>
            <a:ext cx="6838498" cy="108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21" hasCustomPrompt="1"/>
          </p:nvPr>
        </p:nvSpPr>
        <p:spPr>
          <a:xfrm>
            <a:off x="1837189" y="3996000"/>
            <a:ext cx="6838498" cy="108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004424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 Bilder 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50E359-8283-491F-9707-E79B9B82F205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6984000" y="1597025"/>
            <a:ext cx="1692000" cy="1692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4860000" y="1597025"/>
            <a:ext cx="1692000" cy="1692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7"/>
          <p:cNvSpPr>
            <a:spLocks noGrp="1" noChangeAspect="1"/>
          </p:cNvSpPr>
          <p:nvPr>
            <p:ph type="pic" sz="quarter" idx="19"/>
          </p:nvPr>
        </p:nvSpPr>
        <p:spPr>
          <a:xfrm>
            <a:off x="4860000" y="3397525"/>
            <a:ext cx="1692000" cy="1692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Bildplatzhalter 7"/>
          <p:cNvSpPr>
            <a:spLocks noGrp="1" noChangeAspect="1"/>
          </p:cNvSpPr>
          <p:nvPr>
            <p:ph type="pic" sz="quarter" idx="20"/>
          </p:nvPr>
        </p:nvSpPr>
        <p:spPr>
          <a:xfrm>
            <a:off x="6984000" y="3397525"/>
            <a:ext cx="1692000" cy="1692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385545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vie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013" y="533846"/>
            <a:ext cx="851775" cy="397378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>
          <a:xfrm>
            <a:off x="0" y="1407600"/>
            <a:ext cx="9144000" cy="4309200"/>
          </a:xfrm>
          <a:solidFill>
            <a:schemeClr val="bg1">
              <a:lumMod val="85000"/>
            </a:schemeClr>
          </a:solidFill>
        </p:spPr>
        <p:txBody>
          <a:bodyPr lIns="7200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itel 13"/>
          <p:cNvSpPr>
            <a:spLocks noGrp="1" noChangeAspect="1"/>
          </p:cNvSpPr>
          <p:nvPr>
            <p:ph type="ctrTitle" hasCustomPrompt="1"/>
          </p:nvPr>
        </p:nvSpPr>
        <p:spPr>
          <a:xfrm>
            <a:off x="4572000" y="341830"/>
            <a:ext cx="4572000" cy="5373170"/>
          </a:xfrm>
          <a:custGeom>
            <a:avLst/>
            <a:gdLst>
              <a:gd name="connsiteX0" fmla="*/ 2989655 w 4572000"/>
              <a:gd name="connsiteY0" fmla="*/ 0 h 5373170"/>
              <a:gd name="connsiteX1" fmla="*/ 4570597 w 4572000"/>
              <a:gd name="connsiteY1" fmla="*/ 451729 h 5373170"/>
              <a:gd name="connsiteX2" fmla="*/ 4572000 w 4572000"/>
              <a:gd name="connsiteY2" fmla="*/ 452714 h 5373170"/>
              <a:gd name="connsiteX3" fmla="*/ 4572000 w 4572000"/>
              <a:gd name="connsiteY3" fmla="*/ 5373170 h 5373170"/>
              <a:gd name="connsiteX4" fmla="*/ 1190328 w 4572000"/>
              <a:gd name="connsiteY4" fmla="*/ 5373170 h 5373170"/>
              <a:gd name="connsiteX5" fmla="*/ 1087958 w 4572000"/>
              <a:gd name="connsiteY5" fmla="*/ 5296619 h 5373170"/>
              <a:gd name="connsiteX6" fmla="*/ 0 w 4572000"/>
              <a:gd name="connsiteY6" fmla="*/ 2989655 h 5373170"/>
              <a:gd name="connsiteX7" fmla="*/ 2989655 w 4572000"/>
              <a:gd name="connsiteY7" fmla="*/ 0 h 5373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373170">
                <a:moveTo>
                  <a:pt x="2989655" y="0"/>
                </a:moveTo>
                <a:cubicBezTo>
                  <a:pt x="3570135" y="0"/>
                  <a:pt x="4111974" y="165435"/>
                  <a:pt x="4570597" y="451729"/>
                </a:cubicBezTo>
                <a:lnTo>
                  <a:pt x="4572000" y="452714"/>
                </a:lnTo>
                <a:lnTo>
                  <a:pt x="4572000" y="5373170"/>
                </a:lnTo>
                <a:lnTo>
                  <a:pt x="1190328" y="5373170"/>
                </a:lnTo>
                <a:lnTo>
                  <a:pt x="1087958" y="5296619"/>
                </a:lnTo>
                <a:cubicBezTo>
                  <a:pt x="423514" y="4748273"/>
                  <a:pt x="0" y="3918422"/>
                  <a:pt x="0" y="2989655"/>
                </a:cubicBezTo>
                <a:cubicBezTo>
                  <a:pt x="0" y="1338514"/>
                  <a:pt x="1338514" y="0"/>
                  <a:pt x="2989655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lIns="720000" tIns="1620000" rIns="180000" bIns="0" anchor="t" anchorCtr="0">
            <a:noAutofit/>
          </a:bodyPr>
          <a:lstStyle>
            <a:lvl1pPr marL="0" indent="0" algn="l">
              <a:lnSpc>
                <a:spcPct val="90000"/>
              </a:lnSpc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inen langen Titel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hinzufüg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20689" y="1597025"/>
            <a:ext cx="3240688" cy="4284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00" y="3734125"/>
            <a:ext cx="1355400" cy="1355400"/>
          </a:xfrm>
          <a:prstGeom prst="ellipse">
            <a:avLst/>
          </a:prstGeom>
          <a:solidFill>
            <a:schemeClr val="bg1"/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lnSpc>
                <a:spcPts val="15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name </a:t>
            </a:r>
            <a:br>
              <a:rPr lang="de-DE" dirty="0"/>
            </a:br>
            <a:r>
              <a:rPr lang="de-DE" dirty="0"/>
              <a:t>Nam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997529" y="681643"/>
            <a:ext cx="3940232" cy="415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dirty="0"/>
              <a:t>Institute for Control Engineering of Machine</a:t>
            </a:r>
          </a:p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dirty="0"/>
              <a:t>Tools and Manufacturing Units (ISW)</a:t>
            </a:r>
          </a:p>
        </p:txBody>
      </p:sp>
      <p:pic>
        <p:nvPicPr>
          <p:cNvPr id="12" name="Grafik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04" y="344529"/>
            <a:ext cx="2136071" cy="431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783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 Bilder eck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697463-5465-41A1-8997-0FFD9FACF4A6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49687" y="1597025"/>
            <a:ext cx="1926000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spcCol="28800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19600" y="1597025"/>
            <a:ext cx="1926000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spcCol="28800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 dirty="0"/>
              <a:t>Bild durch Klicken auf Symbol hinzufügen</a:t>
            </a:r>
          </a:p>
        </p:txBody>
      </p:sp>
      <p:sp>
        <p:nvSpPr>
          <p:cNvPr id="23" name="Bildplatzhalter 7"/>
          <p:cNvSpPr>
            <a:spLocks noGrp="1"/>
          </p:cNvSpPr>
          <p:nvPr>
            <p:ph type="pic" sz="quarter" idx="19"/>
          </p:nvPr>
        </p:nvSpPr>
        <p:spPr>
          <a:xfrm>
            <a:off x="4719600" y="3397525"/>
            <a:ext cx="1926000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spcCol="28800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20"/>
          </p:nvPr>
        </p:nvSpPr>
        <p:spPr>
          <a:xfrm>
            <a:off x="6749687" y="3397525"/>
            <a:ext cx="1926000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spcCol="28800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165275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quer + 2 Bilder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16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D06EA-3339-4158-AAAE-395BFF9B3C6E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21121" y="1597024"/>
            <a:ext cx="3960000" cy="16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/>
          </p:nvPr>
        </p:nvSpPr>
        <p:spPr>
          <a:xfrm>
            <a:off x="4721121" y="3397525"/>
            <a:ext cx="3960000" cy="16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6"/>
          </p:nvPr>
        </p:nvSpPr>
        <p:spPr>
          <a:xfrm>
            <a:off x="468000" y="3397525"/>
            <a:ext cx="3960000" cy="16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4852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er eck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>
          <a:xfrm>
            <a:off x="476250" y="1605823"/>
            <a:ext cx="1440000" cy="90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21"/>
          </p:nvPr>
        </p:nvSpPr>
        <p:spPr>
          <a:xfrm>
            <a:off x="476250" y="2897674"/>
            <a:ext cx="1440000" cy="90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23"/>
          </p:nvPr>
        </p:nvSpPr>
        <p:spPr>
          <a:xfrm>
            <a:off x="476250" y="4189525"/>
            <a:ext cx="1440000" cy="90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44F86-791E-4A78-B07C-7DEFE8371D74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114025" y="1605824"/>
            <a:ext cx="6561661" cy="90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half" idx="24" hasCustomPrompt="1"/>
          </p:nvPr>
        </p:nvSpPr>
        <p:spPr>
          <a:xfrm>
            <a:off x="2114025" y="2897674"/>
            <a:ext cx="6561661" cy="90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half" idx="25" hasCustomPrompt="1"/>
          </p:nvPr>
        </p:nvSpPr>
        <p:spPr>
          <a:xfrm>
            <a:off x="2114025" y="4189525"/>
            <a:ext cx="6561661" cy="90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219553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2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475244" y="2315783"/>
            <a:ext cx="3960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DAD0B5-7E8B-4462-8F5A-5CB95EBDFF7B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2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Untertitel durch Klicken bearbeiten</a:t>
            </a:r>
          </a:p>
          <a:p>
            <a:pPr lvl="0"/>
            <a:endParaRPr lang="de-DE" dirty="0"/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1735244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720000" y="3214800"/>
            <a:ext cx="34848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3600000"/>
            <a:ext cx="34848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21" name="Rechteck 20"/>
          <p:cNvSpPr/>
          <p:nvPr userDrawn="1"/>
        </p:nvSpPr>
        <p:spPr>
          <a:xfrm>
            <a:off x="4715688" y="2315783"/>
            <a:ext cx="3960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2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5975688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953464" y="3214800"/>
            <a:ext cx="34848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953464" y="3600000"/>
            <a:ext cx="34848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30856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3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468000" y="2315783"/>
            <a:ext cx="2628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A51192-3266-42D8-A78E-462105955B19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1062000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73200" y="3214800"/>
            <a:ext cx="22176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73200" y="3600000"/>
            <a:ext cx="22176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3258000" y="2315783"/>
            <a:ext cx="2628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3855623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3463200" y="3214800"/>
            <a:ext cx="22176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6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463200" y="3600000"/>
            <a:ext cx="22176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048000" y="2315784"/>
            <a:ext cx="2628000" cy="27737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8" name="Bildplatzhalter 7"/>
          <p:cNvSpPr>
            <a:spLocks noGrp="1" noChangeAspect="1"/>
          </p:cNvSpPr>
          <p:nvPr>
            <p:ph type="pic" sz="quarter" idx="20"/>
          </p:nvPr>
        </p:nvSpPr>
        <p:spPr>
          <a:xfrm>
            <a:off x="6642000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253200" y="3214800"/>
            <a:ext cx="22176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6253200" y="3600000"/>
            <a:ext cx="22176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78097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4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466725" y="2315783"/>
            <a:ext cx="2031501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9536BE-CE7B-486F-9B5B-C4AFF0D06A08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833114" y="1587600"/>
            <a:ext cx="1298723" cy="12987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00475" y="3214799"/>
            <a:ext cx="1764000" cy="407775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00475" y="3809772"/>
            <a:ext cx="1764000" cy="113596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24" name="Rechteck 23"/>
          <p:cNvSpPr/>
          <p:nvPr userDrawn="1"/>
        </p:nvSpPr>
        <p:spPr>
          <a:xfrm>
            <a:off x="2545454" y="2315783"/>
            <a:ext cx="2016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2904093" y="1587600"/>
            <a:ext cx="1298723" cy="12987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6" name="Textplatzhalt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2671454" y="3214799"/>
            <a:ext cx="1764000" cy="407775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2671454" y="3809772"/>
            <a:ext cx="1764000" cy="113596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28" name="Rechteck 27"/>
          <p:cNvSpPr/>
          <p:nvPr userDrawn="1"/>
        </p:nvSpPr>
        <p:spPr>
          <a:xfrm>
            <a:off x="4608682" y="2315783"/>
            <a:ext cx="2016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9" name="Bildplatzhalter 7"/>
          <p:cNvSpPr>
            <a:spLocks noGrp="1" noChangeAspect="1"/>
          </p:cNvSpPr>
          <p:nvPr>
            <p:ph type="pic" sz="quarter" idx="20"/>
          </p:nvPr>
        </p:nvSpPr>
        <p:spPr>
          <a:xfrm>
            <a:off x="4967320" y="1587600"/>
            <a:ext cx="1298723" cy="12987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4734682" y="3214799"/>
            <a:ext cx="1764000" cy="407775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1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734682" y="3809772"/>
            <a:ext cx="1764000" cy="113596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32" name="Rechteck 31"/>
          <p:cNvSpPr/>
          <p:nvPr userDrawn="1"/>
        </p:nvSpPr>
        <p:spPr>
          <a:xfrm>
            <a:off x="6671909" y="2315783"/>
            <a:ext cx="2016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3" name="Bildplatzhalter 7"/>
          <p:cNvSpPr>
            <a:spLocks noGrp="1" noChangeAspect="1"/>
          </p:cNvSpPr>
          <p:nvPr>
            <p:ph type="pic" sz="quarter" idx="23"/>
          </p:nvPr>
        </p:nvSpPr>
        <p:spPr>
          <a:xfrm>
            <a:off x="7030548" y="1587600"/>
            <a:ext cx="1298723" cy="12987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4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6797909" y="3214799"/>
            <a:ext cx="1764000" cy="407775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5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6797909" y="3809772"/>
            <a:ext cx="1764000" cy="113596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49720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k object 16"/>
          <p:cNvSpPr/>
          <p:nvPr userDrawn="1"/>
        </p:nvSpPr>
        <p:spPr>
          <a:xfrm>
            <a:off x="0" y="0"/>
            <a:ext cx="9144000" cy="5715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sp>
        <p:nvSpPr>
          <p:cNvPr id="6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475200" y="2124000"/>
            <a:ext cx="1440000" cy="1440000"/>
          </a:xfrm>
          <a:prstGeom prst="ellipse">
            <a:avLst/>
          </a:prstGeom>
          <a:solidFill>
            <a:schemeClr val="bg1"/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174400" y="2176750"/>
            <a:ext cx="3290054" cy="216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2174400" y="2757600"/>
            <a:ext cx="2211862" cy="8089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>
                <a:solidFill>
                  <a:schemeClr val="bg1"/>
                </a:solidFill>
              </a:rPr>
              <a:t>email</a:t>
            </a:r>
          </a:p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>
                <a:solidFill>
                  <a:schemeClr val="bg1"/>
                </a:solidFill>
              </a:rPr>
              <a:t>phone 	+49 (0) 711 685-</a:t>
            </a:r>
          </a:p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>
                <a:tab pos="541338" algn="l"/>
              </a:tabLst>
              <a:defRPr/>
            </a:pPr>
            <a:r>
              <a:rPr lang="en-US" noProof="0" dirty="0">
                <a:solidFill>
                  <a:schemeClr val="bg1"/>
                </a:solidFill>
              </a:rPr>
              <a:t>fax 	+49 (0) 711 685-</a:t>
            </a:r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32914" y="3001893"/>
            <a:ext cx="649267" cy="23833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###-##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832914" y="3249157"/>
            <a:ext cx="649267" cy="23833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###-##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2174400" y="3693600"/>
            <a:ext cx="2500012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>
                <a:solidFill>
                  <a:schemeClr val="bg1"/>
                </a:solidFill>
              </a:rPr>
              <a:t>University of Stuttgart</a:t>
            </a:r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2717045" y="2757117"/>
            <a:ext cx="2747409" cy="21600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Adress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473969" y="1512000"/>
            <a:ext cx="2160000" cy="3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sz="2000" b="1" noProof="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96042" y="681643"/>
            <a:ext cx="3940232" cy="415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Institute for Control Engineering of</a:t>
            </a:r>
            <a:r>
              <a:rPr lang="en-US" sz="900" baseline="0" noProof="0" dirty="0">
                <a:solidFill>
                  <a:schemeClr val="bg1"/>
                </a:solidFill>
              </a:rPr>
              <a:t> </a:t>
            </a:r>
            <a:r>
              <a:rPr lang="en-US" sz="900" noProof="0" dirty="0">
                <a:solidFill>
                  <a:schemeClr val="bg1"/>
                </a:solidFill>
              </a:rPr>
              <a:t>Machine</a:t>
            </a:r>
            <a:endParaRPr lang="en-US" sz="900" baseline="0" noProof="0" dirty="0">
              <a:solidFill>
                <a:schemeClr val="bg1"/>
              </a:solidFill>
            </a:endParaRPr>
          </a:p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Tools</a:t>
            </a:r>
            <a:r>
              <a:rPr lang="en-US" sz="900" baseline="0" noProof="0" dirty="0">
                <a:solidFill>
                  <a:schemeClr val="bg1"/>
                </a:solidFill>
              </a:rPr>
              <a:t> </a:t>
            </a:r>
            <a:r>
              <a:rPr lang="en-US" sz="900" noProof="0" dirty="0">
                <a:solidFill>
                  <a:schemeClr val="bg1"/>
                </a:solidFill>
              </a:rPr>
              <a:t>and Manufacturing</a:t>
            </a:r>
            <a:r>
              <a:rPr lang="en-US" sz="900" baseline="0" noProof="0" dirty="0">
                <a:solidFill>
                  <a:schemeClr val="bg1"/>
                </a:solidFill>
              </a:rPr>
              <a:t> Units (ISW)</a:t>
            </a:r>
            <a:endParaRPr lang="en-US" sz="900" noProof="0" dirty="0">
              <a:solidFill>
                <a:schemeClr val="bg1"/>
              </a:solidFill>
            </a:endParaRPr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2177949" y="2463826"/>
            <a:ext cx="3290054" cy="216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2177950" y="3888528"/>
            <a:ext cx="5945324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1200" noProof="0" dirty="0">
                <a:solidFill>
                  <a:schemeClr val="bg1"/>
                </a:solidFill>
              </a:rPr>
              <a:t>Institute for Control Engineering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noProof="0" dirty="0">
                <a:solidFill>
                  <a:schemeClr val="bg1"/>
                </a:solidFill>
              </a:rPr>
              <a:t>of Machine Tools and Manufacturing Units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noProof="0" dirty="0">
                <a:solidFill>
                  <a:schemeClr val="bg1"/>
                </a:solidFill>
              </a:rPr>
              <a:t>(ISW)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2177948" y="4094092"/>
            <a:ext cx="3286505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>
                <a:tab pos="541338" algn="l"/>
              </a:tabLst>
              <a:defRPr/>
            </a:pPr>
            <a:r>
              <a:rPr lang="en-US" noProof="0" dirty="0" err="1">
                <a:solidFill>
                  <a:schemeClr val="bg1"/>
                </a:solidFill>
              </a:rPr>
              <a:t>Seidenstrasse</a:t>
            </a:r>
            <a:r>
              <a:rPr lang="en-US" noProof="0" dirty="0">
                <a:solidFill>
                  <a:schemeClr val="bg1"/>
                </a:solidFill>
              </a:rPr>
              <a:t> 36 • 70174</a:t>
            </a:r>
            <a:r>
              <a:rPr lang="en-US" baseline="0" noProof="0" dirty="0">
                <a:solidFill>
                  <a:schemeClr val="bg1"/>
                </a:solidFill>
              </a:rPr>
              <a:t> Stuttgart</a:t>
            </a:r>
            <a:r>
              <a:rPr lang="en-US" noProof="0" dirty="0">
                <a:solidFill>
                  <a:schemeClr val="bg1"/>
                </a:solidFill>
              </a:rPr>
              <a:t> •</a:t>
            </a:r>
            <a:r>
              <a:rPr lang="en-US" baseline="0" noProof="0" dirty="0">
                <a:solidFill>
                  <a:schemeClr val="bg1"/>
                </a:solidFill>
              </a:rPr>
              <a:t> Germany</a:t>
            </a:r>
            <a:endParaRPr lang="en-US" noProof="0" dirty="0">
              <a:solidFill>
                <a:schemeClr val="bg1"/>
              </a:solidFill>
            </a:endParaRPr>
          </a:p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baseline="0" noProof="0" dirty="0"/>
              <a:t> </a:t>
            </a:r>
            <a:endParaRPr lang="en-US" noProof="0" dirty="0"/>
          </a:p>
        </p:txBody>
      </p:sp>
      <p:pic>
        <p:nvPicPr>
          <p:cNvPr id="19" name="Grafik 1"/>
          <p:cNvPicPr>
            <a:picLocks noChangeAspect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913" y="533846"/>
            <a:ext cx="851775" cy="397378"/>
          </a:xfrm>
          <a:prstGeom prst="rect">
            <a:avLst/>
          </a:prstGeom>
        </p:spPr>
      </p:pic>
      <p:pic>
        <p:nvPicPr>
          <p:cNvPr id="24" name="Grafik 17"/>
          <p:cNvPicPr>
            <a:picLocks noChangeAspect="1"/>
          </p:cNvPicPr>
          <p:nvPr userDrawn="1"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0" y="344529"/>
            <a:ext cx="2136071" cy="431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120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ISW-Bandero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04" y="344529"/>
            <a:ext cx="2136071" cy="431998"/>
          </a:xfrm>
          <a:prstGeom prst="rect">
            <a:avLst/>
          </a:prstGeom>
        </p:spPr>
      </p:pic>
      <p:pic>
        <p:nvPicPr>
          <p:cNvPr id="20" name="Grafik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913" y="533846"/>
            <a:ext cx="851775" cy="397378"/>
          </a:xfrm>
          <a:prstGeom prst="rect">
            <a:avLst/>
          </a:prstGeom>
        </p:spPr>
      </p:pic>
      <p:sp>
        <p:nvSpPr>
          <p:cNvPr id="3" name="Rechteck 2"/>
          <p:cNvSpPr/>
          <p:nvPr userDrawn="1"/>
        </p:nvSpPr>
        <p:spPr>
          <a:xfrm>
            <a:off x="0" y="2020185"/>
            <a:ext cx="9144000" cy="1623237"/>
          </a:xfrm>
          <a:prstGeom prst="rect">
            <a:avLst/>
          </a:prstGeom>
          <a:solidFill>
            <a:srgbClr val="E51C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noProof="0" dirty="0"/>
          </a:p>
        </p:txBody>
      </p:sp>
      <p:sp>
        <p:nvSpPr>
          <p:cNvPr id="6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474193" y="21240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174400" y="2176746"/>
            <a:ext cx="3290054" cy="216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2174400" y="2757600"/>
            <a:ext cx="2211862" cy="8089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>
                <a:solidFill>
                  <a:schemeClr val="bg1"/>
                </a:solidFill>
              </a:rPr>
              <a:t>email</a:t>
            </a:r>
            <a:r>
              <a:rPr lang="en-US" noProof="0" dirty="0"/>
              <a:t>	</a:t>
            </a:r>
          </a:p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>
                <a:solidFill>
                  <a:schemeClr val="bg1"/>
                </a:solidFill>
              </a:rPr>
              <a:t>phone 	+49 (0) 711 685-</a:t>
            </a:r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32914" y="3001893"/>
            <a:ext cx="649267" cy="23833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###-##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2174400" y="3693600"/>
            <a:ext cx="2500012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/>
              <a:t>University of</a:t>
            </a:r>
            <a:r>
              <a:rPr lang="en-US" baseline="0" noProof="0" dirty="0"/>
              <a:t> Stuttgart</a:t>
            </a:r>
            <a:endParaRPr lang="en-US" noProof="0" dirty="0"/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2717045" y="2757117"/>
            <a:ext cx="2747409" cy="21600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Adress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996042" y="681643"/>
            <a:ext cx="3940232" cy="415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noProof="0" dirty="0"/>
              <a:t>Institute for Control Engineering of</a:t>
            </a:r>
            <a:r>
              <a:rPr lang="en-US" sz="900" baseline="0" noProof="0" dirty="0"/>
              <a:t> </a:t>
            </a:r>
            <a:r>
              <a:rPr lang="en-US" sz="900" noProof="0" dirty="0"/>
              <a:t>Machine</a:t>
            </a:r>
            <a:endParaRPr lang="en-US" sz="900" baseline="0" noProof="0" dirty="0"/>
          </a:p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noProof="0" dirty="0"/>
              <a:t>Tools</a:t>
            </a:r>
            <a:r>
              <a:rPr lang="en-US" sz="900" baseline="0" noProof="0" dirty="0"/>
              <a:t> </a:t>
            </a:r>
            <a:r>
              <a:rPr lang="en-US" sz="900" noProof="0" dirty="0"/>
              <a:t>and Manufacturing</a:t>
            </a:r>
            <a:r>
              <a:rPr lang="en-US" sz="900" baseline="0" noProof="0" dirty="0"/>
              <a:t> Units (ISW)</a:t>
            </a:r>
            <a:endParaRPr lang="en-US" sz="900" noProof="0" dirty="0"/>
          </a:p>
        </p:txBody>
      </p:sp>
      <p:sp>
        <p:nvSpPr>
          <p:cNvPr id="18" name="Textfeld 17"/>
          <p:cNvSpPr txBox="1"/>
          <p:nvPr userDrawn="1"/>
        </p:nvSpPr>
        <p:spPr>
          <a:xfrm>
            <a:off x="2177950" y="3888528"/>
            <a:ext cx="5945324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1200" noProof="0" dirty="0">
                <a:solidFill>
                  <a:srgbClr val="68727F"/>
                </a:solidFill>
              </a:rPr>
              <a:t>Institute for Control Engineering</a:t>
            </a:r>
            <a:r>
              <a:rPr lang="en-US" sz="1200" baseline="0" noProof="0" dirty="0">
                <a:solidFill>
                  <a:srgbClr val="68727F"/>
                </a:solidFill>
              </a:rPr>
              <a:t> </a:t>
            </a:r>
            <a:r>
              <a:rPr lang="en-US" sz="1200" noProof="0" dirty="0">
                <a:solidFill>
                  <a:srgbClr val="68727F"/>
                </a:solidFill>
              </a:rPr>
              <a:t>of Machine Tools and Manufacturing Units</a:t>
            </a:r>
            <a:r>
              <a:rPr lang="en-US" sz="1200" baseline="0" noProof="0" dirty="0">
                <a:solidFill>
                  <a:srgbClr val="68727F"/>
                </a:solidFill>
              </a:rPr>
              <a:t> </a:t>
            </a:r>
            <a:r>
              <a:rPr lang="en-US" sz="1200" noProof="0" dirty="0">
                <a:solidFill>
                  <a:srgbClr val="68727F"/>
                </a:solidFill>
              </a:rPr>
              <a:t>(ISW)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2177948" y="4094092"/>
            <a:ext cx="3286505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>
                <a:tab pos="541338" algn="l"/>
              </a:tabLst>
              <a:defRPr/>
            </a:pPr>
            <a:r>
              <a:rPr lang="en-US" noProof="0" dirty="0" err="1"/>
              <a:t>Seidenstrasse</a:t>
            </a:r>
            <a:r>
              <a:rPr lang="en-US" noProof="0" dirty="0"/>
              <a:t> 36 • 70174</a:t>
            </a:r>
            <a:r>
              <a:rPr lang="en-US" baseline="0" noProof="0" dirty="0"/>
              <a:t> Stuttgart</a:t>
            </a:r>
            <a:r>
              <a:rPr lang="en-US" noProof="0" dirty="0"/>
              <a:t> • Germany</a:t>
            </a:r>
          </a:p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baseline="0" noProof="0" dirty="0"/>
              <a:t> </a:t>
            </a:r>
            <a:endParaRPr lang="en-US" noProof="0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2177949" y="2463826"/>
            <a:ext cx="3290054" cy="216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40896968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7A61BDC-7F4C-4405-B4E8-97C97D3E47D5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b="1"/>
              <a:t>Modeling Capabilities of Digital Twin Platforms | Jérôme Pfeiffer | jerome.pfeiffer@isw.uni-stuttgart.de </a:t>
            </a:r>
            <a:endParaRPr lang="de-DE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33604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73750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458000" y="5547038"/>
            <a:ext cx="1728000" cy="89255"/>
          </a:xfrm>
        </p:spPr>
        <p:txBody>
          <a:bodyPr/>
          <a:lstStyle>
            <a:lvl1pPr>
              <a:defRPr sz="580"/>
            </a:lvl1pPr>
          </a:lstStyle>
          <a:p>
            <a:fld id="{04C8ADF7-1575-48E8-AC5F-C0EB17CC5CD2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14507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k object 16"/>
          <p:cNvSpPr/>
          <p:nvPr userDrawn="1"/>
        </p:nvSpPr>
        <p:spPr>
          <a:xfrm>
            <a:off x="0" y="0"/>
            <a:ext cx="9144000" cy="5715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de-DE" dirty="0"/>
          </a:p>
        </p:txBody>
      </p:sp>
      <p:sp>
        <p:nvSpPr>
          <p:cNvPr id="8" name="bk object 17"/>
          <p:cNvSpPr/>
          <p:nvPr userDrawn="1"/>
        </p:nvSpPr>
        <p:spPr>
          <a:xfrm>
            <a:off x="1279949" y="0"/>
            <a:ext cx="6544309" cy="3926204"/>
          </a:xfrm>
          <a:custGeom>
            <a:avLst/>
            <a:gdLst/>
            <a:ahLst/>
            <a:cxnLst/>
            <a:rect l="l" t="t" r="r" b="b"/>
            <a:pathLst>
              <a:path w="6544309" h="3926204">
                <a:moveTo>
                  <a:pt x="68016" y="0"/>
                </a:moveTo>
                <a:lnTo>
                  <a:pt x="42823" y="123182"/>
                </a:lnTo>
                <a:lnTo>
                  <a:pt x="10846" y="385553"/>
                </a:lnTo>
                <a:lnTo>
                  <a:pt x="0" y="653897"/>
                </a:lnTo>
                <a:lnTo>
                  <a:pt x="10846" y="922242"/>
                </a:lnTo>
                <a:lnTo>
                  <a:pt x="42823" y="1184612"/>
                </a:lnTo>
                <a:lnTo>
                  <a:pt x="95089" y="1440166"/>
                </a:lnTo>
                <a:lnTo>
                  <a:pt x="166802" y="1688062"/>
                </a:lnTo>
                <a:lnTo>
                  <a:pt x="257120" y="1927457"/>
                </a:lnTo>
                <a:lnTo>
                  <a:pt x="365200" y="2157510"/>
                </a:lnTo>
                <a:lnTo>
                  <a:pt x="490201" y="2377378"/>
                </a:lnTo>
                <a:lnTo>
                  <a:pt x="631281" y="2586220"/>
                </a:lnTo>
                <a:lnTo>
                  <a:pt x="787597" y="2783193"/>
                </a:lnTo>
                <a:lnTo>
                  <a:pt x="958308" y="2967456"/>
                </a:lnTo>
                <a:lnTo>
                  <a:pt x="1142571" y="3138167"/>
                </a:lnTo>
                <a:lnTo>
                  <a:pt x="1339545" y="3294482"/>
                </a:lnTo>
                <a:lnTo>
                  <a:pt x="1548387" y="3435561"/>
                </a:lnTo>
                <a:lnTo>
                  <a:pt x="1768256" y="3560562"/>
                </a:lnTo>
                <a:lnTo>
                  <a:pt x="1998308" y="3668642"/>
                </a:lnTo>
                <a:lnTo>
                  <a:pt x="2237703" y="3758959"/>
                </a:lnTo>
                <a:lnTo>
                  <a:pt x="2485598" y="3830671"/>
                </a:lnTo>
                <a:lnTo>
                  <a:pt x="2741151" y="3882937"/>
                </a:lnTo>
                <a:lnTo>
                  <a:pt x="3003520" y="3914914"/>
                </a:lnTo>
                <a:lnTo>
                  <a:pt x="3271862" y="3925760"/>
                </a:lnTo>
                <a:lnTo>
                  <a:pt x="3540207" y="3914914"/>
                </a:lnTo>
                <a:lnTo>
                  <a:pt x="3802577" y="3882937"/>
                </a:lnTo>
                <a:lnTo>
                  <a:pt x="4058131" y="3830671"/>
                </a:lnTo>
                <a:lnTo>
                  <a:pt x="4306027" y="3758959"/>
                </a:lnTo>
                <a:lnTo>
                  <a:pt x="4545422" y="3668642"/>
                </a:lnTo>
                <a:lnTo>
                  <a:pt x="4775475" y="3560562"/>
                </a:lnTo>
                <a:lnTo>
                  <a:pt x="4995343" y="3435561"/>
                </a:lnTo>
                <a:lnTo>
                  <a:pt x="5204185" y="3294482"/>
                </a:lnTo>
                <a:lnTo>
                  <a:pt x="5401159" y="3138167"/>
                </a:lnTo>
                <a:lnTo>
                  <a:pt x="5585421" y="2967456"/>
                </a:lnTo>
                <a:lnTo>
                  <a:pt x="5756132" y="2783193"/>
                </a:lnTo>
                <a:lnTo>
                  <a:pt x="5912448" y="2586220"/>
                </a:lnTo>
                <a:lnTo>
                  <a:pt x="6053527" y="2377378"/>
                </a:lnTo>
                <a:lnTo>
                  <a:pt x="6178527" y="2157510"/>
                </a:lnTo>
                <a:lnTo>
                  <a:pt x="6286607" y="1927457"/>
                </a:lnTo>
                <a:lnTo>
                  <a:pt x="6376924" y="1688062"/>
                </a:lnTo>
                <a:lnTo>
                  <a:pt x="6448637" y="1440166"/>
                </a:lnTo>
                <a:lnTo>
                  <a:pt x="6500902" y="1184612"/>
                </a:lnTo>
                <a:lnTo>
                  <a:pt x="6532879" y="922242"/>
                </a:lnTo>
                <a:lnTo>
                  <a:pt x="6543725" y="653897"/>
                </a:lnTo>
                <a:lnTo>
                  <a:pt x="6532879" y="385553"/>
                </a:lnTo>
                <a:lnTo>
                  <a:pt x="6500902" y="123182"/>
                </a:lnTo>
                <a:lnTo>
                  <a:pt x="6475709" y="0"/>
                </a:lnTo>
                <a:lnTo>
                  <a:pt x="68016" y="0"/>
                </a:lnTo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2799" y="900000"/>
            <a:ext cx="4956195" cy="2225972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22800" y="629826"/>
            <a:ext cx="4118110" cy="221599"/>
          </a:xfrm>
        </p:spPr>
        <p:txBody>
          <a:bodyPr>
            <a:noAutofit/>
          </a:bodyPr>
          <a:lstStyle>
            <a:lvl1pPr marL="0" indent="0">
              <a:buNone/>
              <a:defRPr sz="1200" baseline="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Kapitel</a:t>
            </a:r>
          </a:p>
        </p:txBody>
      </p:sp>
    </p:spTree>
    <p:extLst>
      <p:ext uri="{BB962C8B-B14F-4D97-AF65-F5344CB8AC3E}">
        <p14:creationId xmlns:p14="http://schemas.microsoft.com/office/powerpoint/2010/main" val="27107618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Unterkapit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2799" y="2250000"/>
            <a:ext cx="5526581" cy="90000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22800" y="1944000"/>
            <a:ext cx="3026729" cy="221599"/>
          </a:xfrm>
        </p:spPr>
        <p:txBody>
          <a:bodyPr>
            <a:no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Unterkapitel</a:t>
            </a:r>
          </a:p>
        </p:txBody>
      </p:sp>
    </p:spTree>
    <p:extLst>
      <p:ext uri="{BB962C8B-B14F-4D97-AF65-F5344CB8AC3E}">
        <p14:creationId xmlns:p14="http://schemas.microsoft.com/office/powerpoint/2010/main" val="31782612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/>
          <p:cNvSpPr/>
          <p:nvPr userDrawn="1"/>
        </p:nvSpPr>
        <p:spPr>
          <a:xfrm>
            <a:off x="410148" y="0"/>
            <a:ext cx="7198359" cy="4796155"/>
          </a:xfrm>
          <a:custGeom>
            <a:avLst/>
            <a:gdLst/>
            <a:ahLst/>
            <a:cxnLst/>
            <a:rect l="l" t="t" r="r" b="b"/>
            <a:pathLst>
              <a:path w="7198359" h="4796155">
                <a:moveTo>
                  <a:pt x="6992384" y="0"/>
                </a:moveTo>
                <a:lnTo>
                  <a:pt x="205721" y="0"/>
                </a:lnTo>
                <a:lnTo>
                  <a:pt x="183482" y="58947"/>
                </a:lnTo>
                <a:lnTo>
                  <a:pt x="104598" y="331632"/>
                </a:lnTo>
                <a:lnTo>
                  <a:pt x="47105" y="612741"/>
                </a:lnTo>
                <a:lnTo>
                  <a:pt x="11930" y="901348"/>
                </a:lnTo>
                <a:lnTo>
                  <a:pt x="0" y="1196526"/>
                </a:lnTo>
                <a:lnTo>
                  <a:pt x="11930" y="1491704"/>
                </a:lnTo>
                <a:lnTo>
                  <a:pt x="47105" y="1780311"/>
                </a:lnTo>
                <a:lnTo>
                  <a:pt x="104598" y="2061420"/>
                </a:lnTo>
                <a:lnTo>
                  <a:pt x="183482" y="2334105"/>
                </a:lnTo>
                <a:lnTo>
                  <a:pt x="282831" y="2597440"/>
                </a:lnTo>
                <a:lnTo>
                  <a:pt x="401719" y="2850498"/>
                </a:lnTo>
                <a:lnTo>
                  <a:pt x="539220" y="3092354"/>
                </a:lnTo>
                <a:lnTo>
                  <a:pt x="694408" y="3322080"/>
                </a:lnTo>
                <a:lnTo>
                  <a:pt x="866356" y="3538751"/>
                </a:lnTo>
                <a:lnTo>
                  <a:pt x="1054138" y="3741441"/>
                </a:lnTo>
                <a:lnTo>
                  <a:pt x="1256827" y="3929223"/>
                </a:lnTo>
                <a:lnTo>
                  <a:pt x="1473498" y="4101171"/>
                </a:lnTo>
                <a:lnTo>
                  <a:pt x="1703225" y="4256358"/>
                </a:lnTo>
                <a:lnTo>
                  <a:pt x="1945080" y="4393859"/>
                </a:lnTo>
                <a:lnTo>
                  <a:pt x="2198139" y="4512748"/>
                </a:lnTo>
                <a:lnTo>
                  <a:pt x="2461473" y="4612097"/>
                </a:lnTo>
                <a:lnTo>
                  <a:pt x="2734158" y="4690981"/>
                </a:lnTo>
                <a:lnTo>
                  <a:pt x="3015267" y="4748474"/>
                </a:lnTo>
                <a:lnTo>
                  <a:pt x="3303874" y="4783648"/>
                </a:lnTo>
                <a:lnTo>
                  <a:pt x="3599053" y="4795579"/>
                </a:lnTo>
                <a:lnTo>
                  <a:pt x="3894231" y="4783648"/>
                </a:lnTo>
                <a:lnTo>
                  <a:pt x="4182838" y="4748474"/>
                </a:lnTo>
                <a:lnTo>
                  <a:pt x="4463947" y="4690981"/>
                </a:lnTo>
                <a:lnTo>
                  <a:pt x="4736632" y="4612097"/>
                </a:lnTo>
                <a:lnTo>
                  <a:pt x="4999966" y="4512748"/>
                </a:lnTo>
                <a:lnTo>
                  <a:pt x="5253025" y="4393859"/>
                </a:lnTo>
                <a:lnTo>
                  <a:pt x="5494880" y="4256358"/>
                </a:lnTo>
                <a:lnTo>
                  <a:pt x="5724607" y="4101171"/>
                </a:lnTo>
                <a:lnTo>
                  <a:pt x="5941278" y="3929223"/>
                </a:lnTo>
                <a:lnTo>
                  <a:pt x="6143967" y="3741441"/>
                </a:lnTo>
                <a:lnTo>
                  <a:pt x="6331749" y="3538751"/>
                </a:lnTo>
                <a:lnTo>
                  <a:pt x="6503697" y="3322080"/>
                </a:lnTo>
                <a:lnTo>
                  <a:pt x="6658885" y="3092354"/>
                </a:lnTo>
                <a:lnTo>
                  <a:pt x="6796386" y="2850498"/>
                </a:lnTo>
                <a:lnTo>
                  <a:pt x="6915274" y="2597440"/>
                </a:lnTo>
                <a:lnTo>
                  <a:pt x="7014623" y="2334105"/>
                </a:lnTo>
                <a:lnTo>
                  <a:pt x="7093507" y="2061420"/>
                </a:lnTo>
                <a:lnTo>
                  <a:pt x="7151000" y="1780311"/>
                </a:lnTo>
                <a:lnTo>
                  <a:pt x="7186175" y="1491704"/>
                </a:lnTo>
                <a:lnTo>
                  <a:pt x="7198106" y="1196526"/>
                </a:lnTo>
                <a:lnTo>
                  <a:pt x="7186175" y="901348"/>
                </a:lnTo>
                <a:lnTo>
                  <a:pt x="7151000" y="612741"/>
                </a:lnTo>
                <a:lnTo>
                  <a:pt x="7093507" y="331632"/>
                </a:lnTo>
                <a:lnTo>
                  <a:pt x="7014623" y="58947"/>
                </a:lnTo>
                <a:lnTo>
                  <a:pt x="699238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>
              <a:lnSpc>
                <a:spcPct val="120000"/>
              </a:lnSpc>
            </a:pPr>
            <a:endParaRPr lang="de-DE" dirty="0"/>
          </a:p>
        </p:txBody>
      </p:sp>
      <p:sp>
        <p:nvSpPr>
          <p:cNvPr id="6" name="object 3"/>
          <p:cNvSpPr/>
          <p:nvPr userDrawn="1"/>
        </p:nvSpPr>
        <p:spPr>
          <a:xfrm>
            <a:off x="5559362" y="3040401"/>
            <a:ext cx="2049145" cy="2049145"/>
          </a:xfrm>
          <a:custGeom>
            <a:avLst/>
            <a:gdLst/>
            <a:ahLst/>
            <a:cxnLst/>
            <a:rect l="l" t="t" r="r" b="b"/>
            <a:pathLst>
              <a:path w="2049145" h="2049145">
                <a:moveTo>
                  <a:pt x="1024432" y="0"/>
                </a:moveTo>
                <a:lnTo>
                  <a:pt x="940414" y="3395"/>
                </a:lnTo>
                <a:lnTo>
                  <a:pt x="858266" y="13407"/>
                </a:lnTo>
                <a:lnTo>
                  <a:pt x="778251" y="29772"/>
                </a:lnTo>
                <a:lnTo>
                  <a:pt x="700635" y="52225"/>
                </a:lnTo>
                <a:lnTo>
                  <a:pt x="625679" y="80504"/>
                </a:lnTo>
                <a:lnTo>
                  <a:pt x="553649" y="114344"/>
                </a:lnTo>
                <a:lnTo>
                  <a:pt x="484808" y="153482"/>
                </a:lnTo>
                <a:lnTo>
                  <a:pt x="419418" y="197654"/>
                </a:lnTo>
                <a:lnTo>
                  <a:pt x="357745" y="246597"/>
                </a:lnTo>
                <a:lnTo>
                  <a:pt x="300051" y="300047"/>
                </a:lnTo>
                <a:lnTo>
                  <a:pt x="246601" y="357740"/>
                </a:lnTo>
                <a:lnTo>
                  <a:pt x="197657" y="419413"/>
                </a:lnTo>
                <a:lnTo>
                  <a:pt x="153485" y="484802"/>
                </a:lnTo>
                <a:lnTo>
                  <a:pt x="114346" y="553644"/>
                </a:lnTo>
                <a:lnTo>
                  <a:pt x="80505" y="625674"/>
                </a:lnTo>
                <a:lnTo>
                  <a:pt x="52226" y="700630"/>
                </a:lnTo>
                <a:lnTo>
                  <a:pt x="29773" y="778247"/>
                </a:lnTo>
                <a:lnTo>
                  <a:pt x="13408" y="858262"/>
                </a:lnTo>
                <a:lnTo>
                  <a:pt x="3396" y="940412"/>
                </a:lnTo>
                <a:lnTo>
                  <a:pt x="0" y="1024432"/>
                </a:lnTo>
                <a:lnTo>
                  <a:pt x="3396" y="1108453"/>
                </a:lnTo>
                <a:lnTo>
                  <a:pt x="13408" y="1190602"/>
                </a:lnTo>
                <a:lnTo>
                  <a:pt x="29773" y="1270617"/>
                </a:lnTo>
                <a:lnTo>
                  <a:pt x="52226" y="1348235"/>
                </a:lnTo>
                <a:lnTo>
                  <a:pt x="80505" y="1423190"/>
                </a:lnTo>
                <a:lnTo>
                  <a:pt x="114346" y="1495221"/>
                </a:lnTo>
                <a:lnTo>
                  <a:pt x="153485" y="1564063"/>
                </a:lnTo>
                <a:lnTo>
                  <a:pt x="197657" y="1629452"/>
                </a:lnTo>
                <a:lnTo>
                  <a:pt x="246601" y="1691125"/>
                </a:lnTo>
                <a:lnTo>
                  <a:pt x="300051" y="1748818"/>
                </a:lnTo>
                <a:lnTo>
                  <a:pt x="357745" y="1802268"/>
                </a:lnTo>
                <a:lnTo>
                  <a:pt x="419418" y="1851211"/>
                </a:lnTo>
                <a:lnTo>
                  <a:pt x="484808" y="1895383"/>
                </a:lnTo>
                <a:lnTo>
                  <a:pt x="553649" y="1934521"/>
                </a:lnTo>
                <a:lnTo>
                  <a:pt x="625679" y="1968361"/>
                </a:lnTo>
                <a:lnTo>
                  <a:pt x="700635" y="1996639"/>
                </a:lnTo>
                <a:lnTo>
                  <a:pt x="778251" y="2019093"/>
                </a:lnTo>
                <a:lnTo>
                  <a:pt x="858266" y="2035457"/>
                </a:lnTo>
                <a:lnTo>
                  <a:pt x="940414" y="2045469"/>
                </a:lnTo>
                <a:lnTo>
                  <a:pt x="1024432" y="2048865"/>
                </a:lnTo>
                <a:lnTo>
                  <a:pt x="1108453" y="2045469"/>
                </a:lnTo>
                <a:lnTo>
                  <a:pt x="1190602" y="2035457"/>
                </a:lnTo>
                <a:lnTo>
                  <a:pt x="1270617" y="2019093"/>
                </a:lnTo>
                <a:lnTo>
                  <a:pt x="1348235" y="1996639"/>
                </a:lnTo>
                <a:lnTo>
                  <a:pt x="1423190" y="1968361"/>
                </a:lnTo>
                <a:lnTo>
                  <a:pt x="1495221" y="1934521"/>
                </a:lnTo>
                <a:lnTo>
                  <a:pt x="1564063" y="1895383"/>
                </a:lnTo>
                <a:lnTo>
                  <a:pt x="1629452" y="1851211"/>
                </a:lnTo>
                <a:lnTo>
                  <a:pt x="1691125" y="1802268"/>
                </a:lnTo>
                <a:lnTo>
                  <a:pt x="1748818" y="1748818"/>
                </a:lnTo>
                <a:lnTo>
                  <a:pt x="1802268" y="1691125"/>
                </a:lnTo>
                <a:lnTo>
                  <a:pt x="1851211" y="1629452"/>
                </a:lnTo>
                <a:lnTo>
                  <a:pt x="1895383" y="1564063"/>
                </a:lnTo>
                <a:lnTo>
                  <a:pt x="1934521" y="1495221"/>
                </a:lnTo>
                <a:lnTo>
                  <a:pt x="1968361" y="1423190"/>
                </a:lnTo>
                <a:lnTo>
                  <a:pt x="1996639" y="1348235"/>
                </a:lnTo>
                <a:lnTo>
                  <a:pt x="2019093" y="1270617"/>
                </a:lnTo>
                <a:lnTo>
                  <a:pt x="2035457" y="1190602"/>
                </a:lnTo>
                <a:lnTo>
                  <a:pt x="2045469" y="1108453"/>
                </a:lnTo>
                <a:lnTo>
                  <a:pt x="2048865" y="1024432"/>
                </a:lnTo>
                <a:lnTo>
                  <a:pt x="2045469" y="940412"/>
                </a:lnTo>
                <a:lnTo>
                  <a:pt x="2035457" y="858262"/>
                </a:lnTo>
                <a:lnTo>
                  <a:pt x="2019093" y="778247"/>
                </a:lnTo>
                <a:lnTo>
                  <a:pt x="1996639" y="700630"/>
                </a:lnTo>
                <a:lnTo>
                  <a:pt x="1968361" y="625674"/>
                </a:lnTo>
                <a:lnTo>
                  <a:pt x="1934521" y="553644"/>
                </a:lnTo>
                <a:lnTo>
                  <a:pt x="1895383" y="484802"/>
                </a:lnTo>
                <a:lnTo>
                  <a:pt x="1851211" y="419413"/>
                </a:lnTo>
                <a:lnTo>
                  <a:pt x="1802268" y="357740"/>
                </a:lnTo>
                <a:lnTo>
                  <a:pt x="1748818" y="300047"/>
                </a:lnTo>
                <a:lnTo>
                  <a:pt x="1691125" y="246597"/>
                </a:lnTo>
                <a:lnTo>
                  <a:pt x="1629452" y="197654"/>
                </a:lnTo>
                <a:lnTo>
                  <a:pt x="1564063" y="153482"/>
                </a:lnTo>
                <a:lnTo>
                  <a:pt x="1495221" y="114344"/>
                </a:lnTo>
                <a:lnTo>
                  <a:pt x="1423190" y="80504"/>
                </a:lnTo>
                <a:lnTo>
                  <a:pt x="1348235" y="52225"/>
                </a:lnTo>
                <a:lnTo>
                  <a:pt x="1270617" y="29772"/>
                </a:lnTo>
                <a:lnTo>
                  <a:pt x="1190602" y="13407"/>
                </a:lnTo>
                <a:lnTo>
                  <a:pt x="1108453" y="3395"/>
                </a:lnTo>
                <a:lnTo>
                  <a:pt x="10244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lang="de-DE" dirty="0"/>
          </a:p>
        </p:txBody>
      </p:sp>
      <p:sp>
        <p:nvSpPr>
          <p:cNvPr id="7" name="object 8"/>
          <p:cNvSpPr txBox="1"/>
          <p:nvPr userDrawn="1"/>
        </p:nvSpPr>
        <p:spPr>
          <a:xfrm>
            <a:off x="5907214" y="1625721"/>
            <a:ext cx="1295400" cy="30649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895"/>
              </a:lnSpc>
            </a:pPr>
            <a:r>
              <a:rPr lang="de-DE" sz="20000" b="1" dirty="0">
                <a:solidFill>
                  <a:srgbClr val="BFBFBF"/>
                </a:solidFill>
                <a:latin typeface="Arial"/>
                <a:cs typeface="Arial"/>
              </a:rPr>
              <a:t>„</a:t>
            </a:r>
            <a:endParaRPr lang="de-DE" sz="20000" dirty="0">
              <a:latin typeface="Arial"/>
              <a:cs typeface="Arial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695600" y="936000"/>
            <a:ext cx="4834626" cy="1852276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b="1" baseline="0">
                <a:solidFill>
                  <a:schemeClr val="bg1"/>
                </a:solidFill>
              </a:defRPr>
            </a:lvl1pPr>
            <a:lvl2pPr>
              <a:defRPr sz="3400" b="1">
                <a:solidFill>
                  <a:schemeClr val="bg1"/>
                </a:solidFill>
              </a:defRPr>
            </a:lvl2pPr>
            <a:lvl3pPr>
              <a:defRPr sz="3400" b="1">
                <a:solidFill>
                  <a:schemeClr val="bg1"/>
                </a:solidFill>
              </a:defRPr>
            </a:lvl3pPr>
            <a:lvl4pPr>
              <a:defRPr sz="3400" b="1">
                <a:solidFill>
                  <a:schemeClr val="bg1"/>
                </a:solidFill>
              </a:defRPr>
            </a:lvl4pPr>
            <a:lvl5pPr>
              <a:defRPr sz="3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durch Klicken hinzufüg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695600" y="3024000"/>
            <a:ext cx="3805721" cy="46399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549376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6725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26DE7-B917-4730-BE61-778D31CC0997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999" y="716400"/>
            <a:ext cx="6789011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15688" y="1597025"/>
            <a:ext cx="3960000" cy="264551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4715688" y="4414838"/>
            <a:ext cx="1139352" cy="674687"/>
          </a:xfrm>
          <a:noFill/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313" y="396000"/>
            <a:ext cx="6788698" cy="278290"/>
          </a:xfrm>
        </p:spPr>
        <p:txBody>
          <a:bodyPr/>
          <a:lstStyle/>
          <a:p>
            <a:r>
              <a:rPr lang="de-DE" dirty="0"/>
              <a:t>Projektakronym – Projekttitel durch Klicken bearbeiten</a:t>
            </a:r>
          </a:p>
        </p:txBody>
      </p:sp>
      <p:sp>
        <p:nvSpPr>
          <p:cNvPr id="9" name="Bildplatzhalter 8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724775" y="391479"/>
            <a:ext cx="950913" cy="601146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Logo einfügen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62357" y="4414838"/>
            <a:ext cx="1139352" cy="674687"/>
          </a:xfrm>
          <a:noFill/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7409027" y="4414838"/>
            <a:ext cx="1266661" cy="674687"/>
          </a:xfrm>
          <a:noFill/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Partnerlogo</a:t>
            </a:r>
          </a:p>
        </p:txBody>
      </p:sp>
    </p:spTree>
    <p:extLst>
      <p:ext uri="{BB962C8B-B14F-4D97-AF65-F5344CB8AC3E}">
        <p14:creationId xmlns:p14="http://schemas.microsoft.com/office/powerpoint/2010/main" val="14412058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5688" y="1597025"/>
            <a:ext cx="3960000" cy="34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D0799E-6305-45A0-A703-B55392C1E198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66242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2628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48000" y="1597212"/>
            <a:ext cx="2628000" cy="34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D669E-0AFA-48DA-BD36-04FC59E2D338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5"/>
          </p:nvPr>
        </p:nvSpPr>
        <p:spPr>
          <a:xfrm>
            <a:off x="3258000" y="1596900"/>
            <a:ext cx="2628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307357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7385" y="5485092"/>
            <a:ext cx="218303" cy="101845"/>
          </a:xfrm>
          <a:prstGeom prst="rect">
            <a:avLst/>
          </a:prstGeom>
        </p:spPr>
      </p:pic>
      <p:pic>
        <p:nvPicPr>
          <p:cNvPr id="13" name="Grafik 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782" y="5288122"/>
            <a:ext cx="1192687" cy="31496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313" y="396000"/>
            <a:ext cx="8207375" cy="27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3" y="1598400"/>
            <a:ext cx="8207375" cy="3492500"/>
          </a:xfrm>
          <a:prstGeom prst="rect">
            <a:avLst/>
          </a:prstGeom>
        </p:spPr>
        <p:txBody>
          <a:bodyPr vert="horz" lIns="0" tIns="0" rIns="0" bIns="0" spcCol="288000" rtlCol="0">
            <a:noAutofit/>
          </a:bodyPr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459619" y="5547037"/>
            <a:ext cx="3600000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580" smtClean="0"/>
            </a:lvl1pPr>
          </a:lstStyle>
          <a:p>
            <a:fld id="{0F4D3203-7A68-4E52-89E3-EFAF4D558FC1}" type="datetime4">
              <a:rPr lang="en-US" noProof="0" smtClean="0"/>
              <a:t>June 30, 2022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8313" y="5379747"/>
            <a:ext cx="5161442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b="1" noProof="0"/>
              <a:t>Modeling Capabilities of Digital Twin Platforms | Jérôme Pfeiffer | jerome.pfeiffer@isw.uni-stuttgart.de </a:t>
            </a:r>
            <a:endParaRPr lang="en-US" b="1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8313" y="5212456"/>
            <a:ext cx="2232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9E82CC3C-1DC0-4FDA-9590-6CC506AB67F8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468313" y="5547037"/>
            <a:ext cx="1257706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71323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80" b="0" noProof="0" dirty="0"/>
              <a:t>©</a:t>
            </a:r>
            <a:r>
              <a:rPr lang="en-US" sz="580" b="0" baseline="0" noProof="0" dirty="0"/>
              <a:t> ISW University of Stuttgart</a:t>
            </a:r>
            <a:endParaRPr lang="en-US" sz="580" b="0" noProof="0" dirty="0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468313" y="5153247"/>
            <a:ext cx="8207375" cy="0"/>
          </a:xfrm>
          <a:prstGeom prst="line">
            <a:avLst/>
          </a:prstGeom>
          <a:ln w="9525">
            <a:solidFill>
              <a:srgbClr val="E51C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7630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1" r:id="rId2"/>
    <p:sldLayoutId id="2147483662" r:id="rId3"/>
    <p:sldLayoutId id="2147483663" r:id="rId4"/>
    <p:sldLayoutId id="2147483676" r:id="rId5"/>
    <p:sldLayoutId id="2147483680" r:id="rId6"/>
    <p:sldLayoutId id="2147483689" r:id="rId7"/>
    <p:sldLayoutId id="2147483664" r:id="rId8"/>
    <p:sldLayoutId id="2147483692" r:id="rId9"/>
    <p:sldLayoutId id="2147483703" r:id="rId10"/>
    <p:sldLayoutId id="2147483665" r:id="rId11"/>
    <p:sldLayoutId id="2147483693" r:id="rId12"/>
    <p:sldLayoutId id="2147483704" r:id="rId13"/>
    <p:sldLayoutId id="2147483677" r:id="rId14"/>
    <p:sldLayoutId id="2147483696" r:id="rId15"/>
    <p:sldLayoutId id="2147483678" r:id="rId16"/>
    <p:sldLayoutId id="2147483679" r:id="rId17"/>
    <p:sldLayoutId id="2147483684" r:id="rId18"/>
    <p:sldLayoutId id="2147483690" r:id="rId19"/>
    <p:sldLayoutId id="2147483695" r:id="rId20"/>
    <p:sldLayoutId id="2147483697" r:id="rId21"/>
    <p:sldLayoutId id="2147483685" r:id="rId22"/>
    <p:sldLayoutId id="2147483694" r:id="rId23"/>
    <p:sldLayoutId id="2147483681" r:id="rId24"/>
    <p:sldLayoutId id="2147483683" r:id="rId25"/>
    <p:sldLayoutId id="2147483687" r:id="rId26"/>
    <p:sldLayoutId id="2147483686" r:id="rId27"/>
    <p:sldLayoutId id="2147483701" r:id="rId28"/>
    <p:sldLayoutId id="2147483702" r:id="rId29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20000"/>
        </a:lnSpc>
        <a:spcBef>
          <a:spcPts val="75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4150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76213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20725" indent="-184150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6213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06" userDrawn="1">
          <p15:clr>
            <a:srgbClr val="F26B43"/>
          </p15:clr>
        </p15:guide>
        <p15:guide id="2" pos="295" userDrawn="1">
          <p15:clr>
            <a:srgbClr val="F26B43"/>
          </p15:clr>
        </p15:guide>
        <p15:guide id="3" orient="horz" pos="3206" userDrawn="1">
          <p15:clr>
            <a:srgbClr val="F26B43"/>
          </p15:clr>
        </p15:guide>
        <p15:guide id="4" pos="5465" userDrawn="1">
          <p15:clr>
            <a:srgbClr val="F26B43"/>
          </p15:clr>
        </p15:guide>
        <p15:guide id="5" orient="horz" pos="426" userDrawn="1">
          <p15:clr>
            <a:srgbClr val="F26B43"/>
          </p15:clr>
        </p15:guide>
        <p15:guide id="6" orient="horz" pos="2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aws.amazon.com/iot-twinmaker/latest/guide/what-is-twinmaker.html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8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jp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3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azure.microsoft.com/en-us/services/digital-twins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eclipse.org/vorto/" TargetMode="External"/><Relationship Id="rId4" Type="http://schemas.openxmlformats.org/officeDocument/2006/relationships/hyperlink" Target="https://github.com/eclipse/vorto/blob/master/docs/tutorials/create_webapp_dashboard.md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docs.aws.amazon.com/iot-twinmaker/latest/guide/twinmaker-component-types-examples.html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Outdoorobjekt, Wabe enthält.&#10;&#10;Automatisch generierte Beschreibung">
            <a:extLst>
              <a:ext uri="{FF2B5EF4-FFF2-40B4-BE49-F238E27FC236}">
                <a16:creationId xmlns:a16="http://schemas.microsoft.com/office/drawing/2014/main" id="{44BCE976-BE53-AA6B-239B-7D79798D083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14661" b="14661"/>
          <a:stretch>
            <a:fillRect/>
          </a:stretch>
        </p:blipFill>
        <p:spPr/>
      </p:pic>
      <p:sp>
        <p:nvSpPr>
          <p:cNvPr id="10" name="Title 9"/>
          <p:cNvSpPr>
            <a:spLocks noGrp="1"/>
          </p:cNvSpPr>
          <p:nvPr>
            <p:ph type="ctrTitle"/>
          </p:nvPr>
        </p:nvSpPr>
        <p:spPr>
          <a:xfrm>
            <a:off x="4296103" y="721534"/>
            <a:ext cx="4602866" cy="4602866"/>
          </a:xfrm>
        </p:spPr>
        <p:txBody>
          <a:bodyPr/>
          <a:lstStyle/>
          <a:p>
            <a:r>
              <a:rPr lang="en-US" sz="2000" dirty="0"/>
              <a:t>Modeling Capabilities of Digital Twin Platforms – Old Wine in New Bottles?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236372" y="3911083"/>
            <a:ext cx="1662597" cy="1662597"/>
          </a:xfrm>
        </p:spPr>
        <p:txBody>
          <a:bodyPr/>
          <a:lstStyle/>
          <a:p>
            <a:r>
              <a:rPr lang="en-US" dirty="0"/>
              <a:t>Jérôme Pfeiffer</a:t>
            </a:r>
            <a:r>
              <a:rPr lang="en-US" baseline="30000" dirty="0"/>
              <a:t>1</a:t>
            </a:r>
            <a:r>
              <a:rPr lang="en-US" dirty="0"/>
              <a:t>,</a:t>
            </a:r>
          </a:p>
          <a:p>
            <a:r>
              <a:rPr lang="en-US" dirty="0"/>
              <a:t>Daniel Lehner</a:t>
            </a:r>
            <a:r>
              <a:rPr lang="en-US" baseline="30000" dirty="0"/>
              <a:t>2</a:t>
            </a:r>
            <a:r>
              <a:rPr lang="en-US" dirty="0"/>
              <a:t>,</a:t>
            </a:r>
          </a:p>
          <a:p>
            <a:r>
              <a:rPr lang="en-US" dirty="0"/>
              <a:t>Andreas Wortmann</a:t>
            </a:r>
            <a:r>
              <a:rPr lang="en-US" baseline="30000" dirty="0"/>
              <a:t>1</a:t>
            </a:r>
            <a:r>
              <a:rPr lang="en-US" dirty="0"/>
              <a:t>, </a:t>
            </a:r>
          </a:p>
          <a:p>
            <a:r>
              <a:rPr lang="en-US" dirty="0"/>
              <a:t>Manuel Wimmer</a:t>
            </a:r>
            <a:r>
              <a:rPr lang="en-US" baseline="30000" dirty="0"/>
              <a:t>2</a:t>
            </a:r>
          </a:p>
        </p:txBody>
      </p:sp>
      <p:sp>
        <p:nvSpPr>
          <p:cNvPr id="14" name="Untertitel 3">
            <a:extLst>
              <a:ext uri="{FF2B5EF4-FFF2-40B4-BE49-F238E27FC236}">
                <a16:creationId xmlns:a16="http://schemas.microsoft.com/office/drawing/2014/main" id="{D2979C4B-F156-40A3-ACBA-B24634B2DE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77192" y="3617880"/>
            <a:ext cx="3240688" cy="428400"/>
          </a:xfrm>
        </p:spPr>
        <p:txBody>
          <a:bodyPr/>
          <a:lstStyle/>
          <a:p>
            <a:r>
              <a:rPr lang="en-US" dirty="0"/>
              <a:t>ECMFA@STAF ‘22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A617345-FC6C-9B6D-E0A6-E3194764597C}"/>
              </a:ext>
            </a:extLst>
          </p:cNvPr>
          <p:cNvSpPr txBox="1"/>
          <p:nvPr/>
        </p:nvSpPr>
        <p:spPr>
          <a:xfrm>
            <a:off x="84736" y="5272201"/>
            <a:ext cx="6725639" cy="409904"/>
          </a:xfrm>
          <a:prstGeom prst="rect">
            <a:avLst/>
          </a:prstGeom>
        </p:spPr>
        <p:txBody>
          <a:bodyPr vert="horz" wrap="square" lIns="0" tIns="0" rIns="0" bIns="0" spcCol="288000" rtlCol="0" anchor="ctr">
            <a:noAutofit/>
          </a:bodyPr>
          <a:lstStyle/>
          <a:p>
            <a:r>
              <a:rPr lang="en-US" sz="1000" dirty="0">
                <a:solidFill>
                  <a:schemeClr val="bg2">
                    <a:lumMod val="20000"/>
                    <a:lumOff val="80000"/>
                  </a:schemeClr>
                </a:solidFill>
              </a:rPr>
              <a:t>1 </a:t>
            </a:r>
            <a:r>
              <a:rPr lang="en-US" sz="1000" dirty="0">
                <a:solidFill>
                  <a:schemeClr val="bg2">
                    <a:lumMod val="20000"/>
                    <a:lumOff val="80000"/>
                  </a:schemeClr>
                </a:solidFill>
                <a:effectLst/>
                <a:latin typeface="Arial" panose="020B0604020202020204" pitchFamily="34" charset="0"/>
              </a:rPr>
              <a:t>Institute for Control Engineering of Machine Tools and Manufacturing Units, University of Stuttgart, Germany</a:t>
            </a:r>
          </a:p>
          <a:p>
            <a:r>
              <a:rPr lang="en-US" sz="1000" dirty="0">
                <a:solidFill>
                  <a:schemeClr val="bg2">
                    <a:lumMod val="20000"/>
                    <a:lumOff val="80000"/>
                  </a:schemeClr>
                </a:solidFill>
                <a:latin typeface="Arial" panose="020B0604020202020204" pitchFamily="34" charset="0"/>
              </a:rPr>
              <a:t>2 </a:t>
            </a:r>
            <a:r>
              <a:rPr lang="en-US" sz="1050" dirty="0">
                <a:solidFill>
                  <a:schemeClr val="bg2">
                    <a:lumMod val="20000"/>
                    <a:lumOff val="80000"/>
                  </a:schemeClr>
                </a:solidFill>
                <a:effectLst/>
                <a:latin typeface="Arial" panose="020B0604020202020204" pitchFamily="34" charset="0"/>
              </a:rPr>
              <a:t>CDL-MINT, Institute for Business Informatics - Software Engineering, Johannes Kepler University Linz, Austria</a:t>
            </a:r>
            <a:endParaRPr lang="en-US" sz="1000" dirty="0">
              <a:solidFill>
                <a:schemeClr val="bg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5503CED-9756-AA57-445A-AC05A448C66C}"/>
              </a:ext>
            </a:extLst>
          </p:cNvPr>
          <p:cNvSpPr txBox="1"/>
          <p:nvPr/>
        </p:nvSpPr>
        <p:spPr>
          <a:xfrm>
            <a:off x="7236372" y="5571360"/>
            <a:ext cx="1932660" cy="143640"/>
          </a:xfrm>
          <a:prstGeom prst="rect">
            <a:avLst/>
          </a:prstGeom>
        </p:spPr>
        <p:txBody>
          <a:bodyPr vert="horz" wrap="square" lIns="0" tIns="0" rIns="0" bIns="0" spcCol="288000" rtlCol="0">
            <a:noAutofit/>
          </a:bodyPr>
          <a:lstStyle/>
          <a:p>
            <a:r>
              <a:rPr lang="en-US" sz="8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Photo by </a:t>
            </a:r>
            <a:r>
              <a:rPr lang="en-US" sz="800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Kelsen</a:t>
            </a:r>
            <a:r>
              <a:rPr lang="en-US" sz="8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 Fernandes on </a:t>
            </a:r>
            <a:r>
              <a:rPr lang="en-US" sz="800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Unsplash</a:t>
            </a:r>
            <a:endParaRPr lang="en-US" sz="700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15323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16C651E-DB99-1808-BC54-8FC5923D58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EF958-1C90-4C86-834E-9BA4FF7595DB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2B1DC7-3423-8349-9632-6719F9C92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C7ABCC-8838-D785-3543-692DA195A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F2935E-87C0-772C-7B31-1F1275F92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ncovering the metamodel of AWS IoT </a:t>
            </a:r>
            <a:r>
              <a:rPr lang="en-US" dirty="0" err="1"/>
              <a:t>TwinMaker</a:t>
            </a:r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674A8DC-E475-145F-89A1-D9F047F37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Q1: What are the conceptual metamodels used by existing DT platforms?</a:t>
            </a:r>
          </a:p>
        </p:txBody>
      </p:sp>
      <p:grpSp>
        <p:nvGrpSpPr>
          <p:cNvPr id="157" name="Gruppieren 156">
            <a:extLst>
              <a:ext uri="{FF2B5EF4-FFF2-40B4-BE49-F238E27FC236}">
                <a16:creationId xmlns:a16="http://schemas.microsoft.com/office/drawing/2014/main" id="{554806A7-E32F-C3DF-2630-42F4763F20CA}"/>
              </a:ext>
            </a:extLst>
          </p:cNvPr>
          <p:cNvGrpSpPr/>
          <p:nvPr/>
        </p:nvGrpSpPr>
        <p:grpSpPr>
          <a:xfrm>
            <a:off x="5306685" y="1852586"/>
            <a:ext cx="3369002" cy="2499908"/>
            <a:chOff x="5095549" y="1778774"/>
            <a:chExt cx="3369002" cy="2499908"/>
          </a:xfrm>
        </p:grpSpPr>
        <p:sp>
          <p:nvSpPr>
            <p:cNvPr id="45" name="Google Shape;522;g10f8d9d020d_0_26">
              <a:extLst>
                <a:ext uri="{FF2B5EF4-FFF2-40B4-BE49-F238E27FC236}">
                  <a16:creationId xmlns:a16="http://schemas.microsoft.com/office/drawing/2014/main" id="{E0D18794-37E1-46AE-82E5-EF7447715DAA}"/>
                </a:ext>
              </a:extLst>
            </p:cNvPr>
            <p:cNvSpPr/>
            <p:nvPr/>
          </p:nvSpPr>
          <p:spPr>
            <a:xfrm>
              <a:off x="5310786" y="2905377"/>
              <a:ext cx="1260907" cy="688211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100"/>
              </a:pPr>
              <a:r>
                <a:rPr lang="de-DE" sz="11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roperty</a:t>
              </a:r>
              <a:br>
                <a:rPr lang="de-DE" sz="11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de-DE" sz="11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Definition</a:t>
              </a:r>
              <a:endParaRPr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" name="Google Shape;530;g10f8d9d020d_0_26">
              <a:extLst>
                <a:ext uri="{FF2B5EF4-FFF2-40B4-BE49-F238E27FC236}">
                  <a16:creationId xmlns:a16="http://schemas.microsoft.com/office/drawing/2014/main" id="{17575AC6-E5E7-2759-49E8-C03A99FFEE6F}"/>
                </a:ext>
              </a:extLst>
            </p:cNvPr>
            <p:cNvSpPr/>
            <p:nvPr/>
          </p:nvSpPr>
          <p:spPr>
            <a:xfrm>
              <a:off x="5329838" y="2178977"/>
              <a:ext cx="1260906" cy="272183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100"/>
              </a:pPr>
              <a:r>
                <a:rPr lang="de-DE" sz="1100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mponentType</a:t>
              </a:r>
              <a:endParaRPr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50" name="Google Shape;532;g10f8d9d020d_0_26">
              <a:extLst>
                <a:ext uri="{FF2B5EF4-FFF2-40B4-BE49-F238E27FC236}">
                  <a16:creationId xmlns:a16="http://schemas.microsoft.com/office/drawing/2014/main" id="{703699B8-4F65-0F88-95F6-E4C53FDF4E0F}"/>
                </a:ext>
              </a:extLst>
            </p:cNvPr>
            <p:cNvCxnSpPr>
              <a:cxnSpLocks/>
              <a:stCxn id="48" idx="1"/>
              <a:endCxn id="48" idx="0"/>
            </p:cNvCxnSpPr>
            <p:nvPr/>
          </p:nvCxnSpPr>
          <p:spPr>
            <a:xfrm rot="10800000" flipH="1">
              <a:off x="5329837" y="2178977"/>
              <a:ext cx="630453" cy="136092"/>
            </a:xfrm>
            <a:prstGeom prst="bentConnector4">
              <a:avLst>
                <a:gd name="adj1" fmla="val -40289"/>
                <a:gd name="adj2" fmla="val 267975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57" name="Google Shape;538;g10f8d9d020d_0_26">
              <a:extLst>
                <a:ext uri="{FF2B5EF4-FFF2-40B4-BE49-F238E27FC236}">
                  <a16:creationId xmlns:a16="http://schemas.microsoft.com/office/drawing/2014/main" id="{51C05741-56CE-5EC6-40E6-A19A5DC8FBFD}"/>
                </a:ext>
              </a:extLst>
            </p:cNvPr>
            <p:cNvSpPr/>
            <p:nvPr/>
          </p:nvSpPr>
          <p:spPr>
            <a:xfrm>
              <a:off x="7037568" y="2179925"/>
              <a:ext cx="1088591" cy="271755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100"/>
              </a:pPr>
              <a:r>
                <a:rPr lang="de-DE" sz="1100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Function</a:t>
              </a:r>
              <a:endParaRPr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" name="Google Shape;542;g10f8d9d020d_0_26">
              <a:extLst>
                <a:ext uri="{FF2B5EF4-FFF2-40B4-BE49-F238E27FC236}">
                  <a16:creationId xmlns:a16="http://schemas.microsoft.com/office/drawing/2014/main" id="{B46AE992-4812-C031-CB94-E20FB85C5429}"/>
                </a:ext>
              </a:extLst>
            </p:cNvPr>
            <p:cNvSpPr txBox="1"/>
            <p:nvPr/>
          </p:nvSpPr>
          <p:spPr>
            <a:xfrm>
              <a:off x="5095549" y="1778774"/>
              <a:ext cx="897645" cy="2557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latin typeface="Arial"/>
                  <a:ea typeface="Arial"/>
                  <a:cs typeface="Arial"/>
                  <a:sym typeface="Arial"/>
                </a:rPr>
                <a:t>[0..10]</a:t>
              </a:r>
              <a:br>
                <a:rPr lang="en-US" sz="1050" dirty="0"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50" dirty="0" err="1">
                  <a:latin typeface="Arial"/>
                  <a:ea typeface="Arial"/>
                  <a:cs typeface="Arial"/>
                  <a:sym typeface="Arial"/>
                </a:rPr>
                <a:t>extendsFrom</a:t>
              </a:r>
              <a:endParaRPr sz="1050" dirty="0"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4" name="Google Shape;547;g10f8d9d020d_0_26">
              <a:extLst>
                <a:ext uri="{FF2B5EF4-FFF2-40B4-BE49-F238E27FC236}">
                  <a16:creationId xmlns:a16="http://schemas.microsoft.com/office/drawing/2014/main" id="{0A639F6C-F291-AA40-1F1B-5186515D510C}"/>
                </a:ext>
              </a:extLst>
            </p:cNvPr>
            <p:cNvSpPr/>
            <p:nvPr/>
          </p:nvSpPr>
          <p:spPr>
            <a:xfrm>
              <a:off x="7037568" y="3215096"/>
              <a:ext cx="1088591" cy="271755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100"/>
              </a:pPr>
              <a:r>
                <a:rPr lang="de-DE" sz="1100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DataType</a:t>
              </a:r>
              <a:endParaRPr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67" name="Google Shape;554;g10f8d9d020d_0_26">
              <a:extLst>
                <a:ext uri="{FF2B5EF4-FFF2-40B4-BE49-F238E27FC236}">
                  <a16:creationId xmlns:a16="http://schemas.microsoft.com/office/drawing/2014/main" id="{E746ADFF-097A-ADDC-E847-3D2BB8BBCCC6}"/>
                </a:ext>
              </a:extLst>
            </p:cNvPr>
            <p:cNvCxnSpPr>
              <a:cxnSpLocks/>
              <a:stCxn id="159" idx="2"/>
              <a:endCxn id="64" idx="1"/>
            </p:cNvCxnSpPr>
            <p:nvPr/>
          </p:nvCxnSpPr>
          <p:spPr>
            <a:xfrm>
              <a:off x="6723190" y="3347582"/>
              <a:ext cx="314378" cy="3392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68" name="Google Shape;557;g10f8d9d020d_0_26">
              <a:extLst>
                <a:ext uri="{FF2B5EF4-FFF2-40B4-BE49-F238E27FC236}">
                  <a16:creationId xmlns:a16="http://schemas.microsoft.com/office/drawing/2014/main" id="{0FBA5842-E05A-B4F0-715C-2E87D42D513D}"/>
                </a:ext>
              </a:extLst>
            </p:cNvPr>
            <p:cNvSpPr txBox="1"/>
            <p:nvPr/>
          </p:nvSpPr>
          <p:spPr>
            <a:xfrm>
              <a:off x="6761786" y="2802648"/>
              <a:ext cx="324518" cy="1019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*</a:t>
              </a:r>
              <a:endParaRPr sz="11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Google Shape;558;g10f8d9d020d_0_26">
              <a:extLst>
                <a:ext uri="{FF2B5EF4-FFF2-40B4-BE49-F238E27FC236}">
                  <a16:creationId xmlns:a16="http://schemas.microsoft.com/office/drawing/2014/main" id="{4535CB77-7803-9344-1AE9-9E1D153E0519}"/>
                </a:ext>
              </a:extLst>
            </p:cNvPr>
            <p:cNvSpPr txBox="1"/>
            <p:nvPr/>
          </p:nvSpPr>
          <p:spPr>
            <a:xfrm>
              <a:off x="6804038" y="2188497"/>
              <a:ext cx="90111" cy="1019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>
                <a:defRPr lang="de-DE"/>
              </a:defPPr>
              <a:lvl1pPr marR="0"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defRPr sz="1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1pPr>
            </a:lstStyle>
            <a:p>
              <a:r>
                <a:rPr lang="en-US" sz="1050" dirty="0">
                  <a:sym typeface="Arial"/>
                </a:rPr>
                <a:t>*</a:t>
              </a:r>
              <a:endParaRPr sz="1050" dirty="0">
                <a:sym typeface="Arial"/>
              </a:endParaRPr>
            </a:p>
          </p:txBody>
        </p:sp>
        <p:sp>
          <p:nvSpPr>
            <p:cNvPr id="71" name="Google Shape;559;g10f8d9d020d_0_26">
              <a:extLst>
                <a:ext uri="{FF2B5EF4-FFF2-40B4-BE49-F238E27FC236}">
                  <a16:creationId xmlns:a16="http://schemas.microsoft.com/office/drawing/2014/main" id="{87D1DE1A-91FC-D6A3-0E47-C68940967AED}"/>
                </a:ext>
              </a:extLst>
            </p:cNvPr>
            <p:cNvSpPr txBox="1"/>
            <p:nvPr/>
          </p:nvSpPr>
          <p:spPr>
            <a:xfrm>
              <a:off x="6820632" y="3184681"/>
              <a:ext cx="110337" cy="1019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endParaRPr sz="1050" dirty="0">
                <a:solidFill>
                  <a:schemeClr val="dk1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4" name="Google Shape;559;g10f8d9d020d_0_26">
              <a:extLst>
                <a:ext uri="{FF2B5EF4-FFF2-40B4-BE49-F238E27FC236}">
                  <a16:creationId xmlns:a16="http://schemas.microsoft.com/office/drawing/2014/main" id="{0387AF8F-6BA8-F184-7EE1-EF89DFCC9A34}"/>
                </a:ext>
              </a:extLst>
            </p:cNvPr>
            <p:cNvSpPr txBox="1"/>
            <p:nvPr/>
          </p:nvSpPr>
          <p:spPr>
            <a:xfrm>
              <a:off x="8169097" y="3453289"/>
              <a:ext cx="295454" cy="1031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..1</a:t>
              </a:r>
              <a:endParaRPr sz="1050" dirty="0">
                <a:solidFill>
                  <a:schemeClr val="dk1"/>
                </a:solidFill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77" name="Google Shape;554;g10f8d9d020d_0_26">
              <a:extLst>
                <a:ext uri="{FF2B5EF4-FFF2-40B4-BE49-F238E27FC236}">
                  <a16:creationId xmlns:a16="http://schemas.microsoft.com/office/drawing/2014/main" id="{21D9B4CC-4A1E-297A-095D-07FBEABB3F95}"/>
                </a:ext>
              </a:extLst>
            </p:cNvPr>
            <p:cNvCxnSpPr>
              <a:cxnSpLocks/>
              <a:stCxn id="121" idx="2"/>
              <a:endCxn id="57" idx="1"/>
            </p:cNvCxnSpPr>
            <p:nvPr/>
          </p:nvCxnSpPr>
          <p:spPr>
            <a:xfrm flipV="1">
              <a:off x="6734163" y="2315803"/>
              <a:ext cx="303405" cy="3461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78" name="Google Shape;554;g10f8d9d020d_0_26">
              <a:extLst>
                <a:ext uri="{FF2B5EF4-FFF2-40B4-BE49-F238E27FC236}">
                  <a16:creationId xmlns:a16="http://schemas.microsoft.com/office/drawing/2014/main" id="{88534C25-D54D-C94A-22D0-FB9E4F37D763}"/>
                </a:ext>
              </a:extLst>
            </p:cNvPr>
            <p:cNvCxnSpPr>
              <a:cxnSpLocks/>
              <a:stCxn id="93" idx="0"/>
              <a:endCxn id="93" idx="2"/>
            </p:cNvCxnSpPr>
            <p:nvPr/>
          </p:nvCxnSpPr>
          <p:spPr>
            <a:xfrm>
              <a:off x="7581864" y="4005131"/>
              <a:ext cx="0" cy="273551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79" name="Google Shape;554;g10f8d9d020d_0_26">
              <a:extLst>
                <a:ext uri="{FF2B5EF4-FFF2-40B4-BE49-F238E27FC236}">
                  <a16:creationId xmlns:a16="http://schemas.microsoft.com/office/drawing/2014/main" id="{3425C838-5E04-A0CB-69A9-3FFD2A72A9A9}"/>
                </a:ext>
              </a:extLst>
            </p:cNvPr>
            <p:cNvCxnSpPr>
              <a:cxnSpLocks/>
              <a:stCxn id="123" idx="2"/>
              <a:endCxn id="45" idx="0"/>
            </p:cNvCxnSpPr>
            <p:nvPr/>
          </p:nvCxnSpPr>
          <p:spPr>
            <a:xfrm flipH="1">
              <a:off x="5941240" y="2597016"/>
              <a:ext cx="1329" cy="308361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81" name="Google Shape;542;g10f8d9d020d_0_26">
              <a:extLst>
                <a:ext uri="{FF2B5EF4-FFF2-40B4-BE49-F238E27FC236}">
                  <a16:creationId xmlns:a16="http://schemas.microsoft.com/office/drawing/2014/main" id="{25CDBD30-B509-F36B-C600-E6449921904D}"/>
                </a:ext>
              </a:extLst>
            </p:cNvPr>
            <p:cNvSpPr txBox="1"/>
            <p:nvPr/>
          </p:nvSpPr>
          <p:spPr>
            <a:xfrm>
              <a:off x="6885865" y="2779930"/>
              <a:ext cx="733802" cy="1432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de-DE" sz="1050" dirty="0" err="1">
                  <a:latin typeface="Arial"/>
                  <a:ea typeface="Arial"/>
                  <a:cs typeface="Arial"/>
                  <a:sym typeface="Arial"/>
                </a:rPr>
                <a:t>required</a:t>
              </a:r>
              <a:br>
                <a:rPr lang="de-DE" sz="1050" dirty="0">
                  <a:latin typeface="Arial"/>
                  <a:ea typeface="Arial"/>
                  <a:cs typeface="Arial"/>
                  <a:sym typeface="Arial"/>
                </a:rPr>
              </a:br>
              <a:r>
                <a:rPr lang="de-DE" sz="1050" dirty="0">
                  <a:latin typeface="Arial"/>
                  <a:ea typeface="Arial"/>
                  <a:cs typeface="Arial"/>
                  <a:sym typeface="Arial"/>
                </a:rPr>
                <a:t>Properties</a:t>
              </a:r>
              <a:endParaRPr sz="1050" dirty="0"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" name="Google Shape;542;g10f8d9d020d_0_26">
              <a:extLst>
                <a:ext uri="{FF2B5EF4-FFF2-40B4-BE49-F238E27FC236}">
                  <a16:creationId xmlns:a16="http://schemas.microsoft.com/office/drawing/2014/main" id="{25DB52ED-E42D-12EC-59B3-357411C54207}"/>
                </a:ext>
              </a:extLst>
            </p:cNvPr>
            <p:cNvSpPr txBox="1"/>
            <p:nvPr/>
          </p:nvSpPr>
          <p:spPr>
            <a:xfrm>
              <a:off x="7914788" y="2876713"/>
              <a:ext cx="450733" cy="1031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de-DE" sz="1050" dirty="0" err="1">
                  <a:latin typeface="Arial"/>
                  <a:ea typeface="Arial"/>
                  <a:cs typeface="Arial"/>
                  <a:sym typeface="Arial"/>
                </a:rPr>
                <a:t>nestedType</a:t>
              </a:r>
              <a:endParaRPr sz="1050" dirty="0"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3" name="Google Shape;559;g10f8d9d020d_0_26">
              <a:extLst>
                <a:ext uri="{FF2B5EF4-FFF2-40B4-BE49-F238E27FC236}">
                  <a16:creationId xmlns:a16="http://schemas.microsoft.com/office/drawing/2014/main" id="{B1AB551C-786F-19AE-67CC-043BC142C9A3}"/>
                </a:ext>
              </a:extLst>
            </p:cNvPr>
            <p:cNvSpPr txBox="1"/>
            <p:nvPr/>
          </p:nvSpPr>
          <p:spPr>
            <a:xfrm>
              <a:off x="5158783" y="2515589"/>
              <a:ext cx="560252" cy="1576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..1 target</a:t>
              </a:r>
              <a:endParaRPr sz="1050" dirty="0">
                <a:solidFill>
                  <a:schemeClr val="dk1"/>
                </a:solidFill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85" name="Google Shape;532;g10f8d9d020d_0_26">
              <a:extLst>
                <a:ext uri="{FF2B5EF4-FFF2-40B4-BE49-F238E27FC236}">
                  <a16:creationId xmlns:a16="http://schemas.microsoft.com/office/drawing/2014/main" id="{076E31CB-8745-7DA9-3B8A-B6D85096EEAF}"/>
                </a:ext>
              </a:extLst>
            </p:cNvPr>
            <p:cNvCxnSpPr>
              <a:cxnSpLocks/>
              <a:stCxn id="57" idx="2"/>
            </p:cNvCxnSpPr>
            <p:nvPr/>
          </p:nvCxnSpPr>
          <p:spPr>
            <a:xfrm rot="5400000">
              <a:off x="6817899" y="2205475"/>
              <a:ext cx="517760" cy="1010171"/>
            </a:xfrm>
            <a:prstGeom prst="bentConnector2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93" name="Google Shape;547;g10f8d9d020d_0_26">
              <a:extLst>
                <a:ext uri="{FF2B5EF4-FFF2-40B4-BE49-F238E27FC236}">
                  <a16:creationId xmlns:a16="http://schemas.microsoft.com/office/drawing/2014/main" id="{18DF8C25-489F-191F-DD7D-3E5E9518BD8E}"/>
                </a:ext>
              </a:extLst>
            </p:cNvPr>
            <p:cNvSpPr/>
            <p:nvPr/>
          </p:nvSpPr>
          <p:spPr>
            <a:xfrm>
              <a:off x="7037568" y="4005131"/>
              <a:ext cx="1088591" cy="273551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100"/>
              </a:pPr>
              <a:r>
                <a:rPr lang="de-DE" sz="1100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Relationship</a:t>
              </a:r>
              <a:endParaRPr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6" name="Google Shape;532;g10f8d9d020d_0_26">
              <a:extLst>
                <a:ext uri="{FF2B5EF4-FFF2-40B4-BE49-F238E27FC236}">
                  <a16:creationId xmlns:a16="http://schemas.microsoft.com/office/drawing/2014/main" id="{7D8EB402-FF2A-19F0-CEEA-C707DC8E7B16}"/>
                </a:ext>
              </a:extLst>
            </p:cNvPr>
            <p:cNvCxnSpPr>
              <a:cxnSpLocks/>
              <a:stCxn id="64" idx="0"/>
              <a:endCxn id="64" idx="3"/>
            </p:cNvCxnSpPr>
            <p:nvPr/>
          </p:nvCxnSpPr>
          <p:spPr>
            <a:xfrm rot="16200000" flipH="1">
              <a:off x="7786072" y="3010888"/>
              <a:ext cx="135878" cy="544295"/>
            </a:xfrm>
            <a:prstGeom prst="bentConnector4">
              <a:avLst>
                <a:gd name="adj1" fmla="val -126178"/>
                <a:gd name="adj2" fmla="val 141999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98" name="Google Shape;532;g10f8d9d020d_0_26">
              <a:extLst>
                <a:ext uri="{FF2B5EF4-FFF2-40B4-BE49-F238E27FC236}">
                  <a16:creationId xmlns:a16="http://schemas.microsoft.com/office/drawing/2014/main" id="{6A5E046F-837C-613D-798D-EB41C40C6CB2}"/>
                </a:ext>
              </a:extLst>
            </p:cNvPr>
            <p:cNvCxnSpPr>
              <a:cxnSpLocks/>
              <a:stCxn id="93" idx="1"/>
              <a:endCxn id="48" idx="1"/>
            </p:cNvCxnSpPr>
            <p:nvPr/>
          </p:nvCxnSpPr>
          <p:spPr>
            <a:xfrm rot="10800000">
              <a:off x="5329838" y="2413907"/>
              <a:ext cx="1707730" cy="1728000"/>
            </a:xfrm>
            <a:prstGeom prst="bentConnector3">
              <a:avLst>
                <a:gd name="adj1" fmla="val 113386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99" name="Google Shape;554;g10f8d9d020d_0_26">
              <a:extLst>
                <a:ext uri="{FF2B5EF4-FFF2-40B4-BE49-F238E27FC236}">
                  <a16:creationId xmlns:a16="http://schemas.microsoft.com/office/drawing/2014/main" id="{EB8AD152-7A9D-B5F8-0003-E82FAF1DCCD6}"/>
                </a:ext>
              </a:extLst>
            </p:cNvPr>
            <p:cNvCxnSpPr>
              <a:cxnSpLocks/>
              <a:stCxn id="127" idx="2"/>
              <a:endCxn id="93" idx="0"/>
            </p:cNvCxnSpPr>
            <p:nvPr/>
          </p:nvCxnSpPr>
          <p:spPr>
            <a:xfrm>
              <a:off x="7581863" y="3622416"/>
              <a:ext cx="1" cy="3827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101" name="Google Shape;559;g10f8d9d020d_0_26">
              <a:extLst>
                <a:ext uri="{FF2B5EF4-FFF2-40B4-BE49-F238E27FC236}">
                  <a16:creationId xmlns:a16="http://schemas.microsoft.com/office/drawing/2014/main" id="{5D980C5E-AD37-46EF-3E37-D7C7E1831AD3}"/>
                </a:ext>
              </a:extLst>
            </p:cNvPr>
            <p:cNvSpPr txBox="1"/>
            <p:nvPr/>
          </p:nvSpPr>
          <p:spPr>
            <a:xfrm>
              <a:off x="7714418" y="3789636"/>
              <a:ext cx="372748" cy="9636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..1</a:t>
              </a:r>
              <a:endParaRPr sz="1050" dirty="0">
                <a:solidFill>
                  <a:schemeClr val="dk1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1" name="Raute 120">
              <a:extLst>
                <a:ext uri="{FF2B5EF4-FFF2-40B4-BE49-F238E27FC236}">
                  <a16:creationId xmlns:a16="http://schemas.microsoft.com/office/drawing/2014/main" id="{41FCE17D-4EE6-5BE0-ED0F-56DA1216DAF6}"/>
                </a:ext>
              </a:extLst>
            </p:cNvPr>
            <p:cNvSpPr/>
            <p:nvPr/>
          </p:nvSpPr>
          <p:spPr>
            <a:xfrm rot="16200000" flipH="1">
              <a:off x="6615755" y="2251481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Raute 122">
              <a:extLst>
                <a:ext uri="{FF2B5EF4-FFF2-40B4-BE49-F238E27FC236}">
                  <a16:creationId xmlns:a16="http://schemas.microsoft.com/office/drawing/2014/main" id="{F86F58B5-3BEA-3471-AAAC-49C323A89B7E}"/>
                </a:ext>
              </a:extLst>
            </p:cNvPr>
            <p:cNvSpPr/>
            <p:nvPr/>
          </p:nvSpPr>
          <p:spPr>
            <a:xfrm flipH="1">
              <a:off x="5891944" y="2461451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Raute 126">
              <a:extLst>
                <a:ext uri="{FF2B5EF4-FFF2-40B4-BE49-F238E27FC236}">
                  <a16:creationId xmlns:a16="http://schemas.microsoft.com/office/drawing/2014/main" id="{C3B7C012-EEDE-9BD4-0F53-285F0AF30CD9}"/>
                </a:ext>
              </a:extLst>
            </p:cNvPr>
            <p:cNvSpPr/>
            <p:nvPr/>
          </p:nvSpPr>
          <p:spPr>
            <a:xfrm flipH="1">
              <a:off x="7531238" y="3486851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Raute 158">
              <a:extLst>
                <a:ext uri="{FF2B5EF4-FFF2-40B4-BE49-F238E27FC236}">
                  <a16:creationId xmlns:a16="http://schemas.microsoft.com/office/drawing/2014/main" id="{3B681A55-50CB-73CA-7D81-EEE1E2612CB9}"/>
                </a:ext>
              </a:extLst>
            </p:cNvPr>
            <p:cNvSpPr/>
            <p:nvPr/>
          </p:nvSpPr>
          <p:spPr>
            <a:xfrm rot="16200000" flipH="1">
              <a:off x="6604782" y="3279799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Google Shape;558;g10f8d9d020d_0_26">
              <a:extLst>
                <a:ext uri="{FF2B5EF4-FFF2-40B4-BE49-F238E27FC236}">
                  <a16:creationId xmlns:a16="http://schemas.microsoft.com/office/drawing/2014/main" id="{D1F5BE36-7B2C-BF6B-60DA-998819B976D3}"/>
                </a:ext>
              </a:extLst>
            </p:cNvPr>
            <p:cNvSpPr txBox="1"/>
            <p:nvPr/>
          </p:nvSpPr>
          <p:spPr>
            <a:xfrm>
              <a:off x="6067533" y="2657527"/>
              <a:ext cx="90111" cy="1019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>
                <a:defRPr lang="de-DE"/>
              </a:defPPr>
              <a:lvl1pPr marR="0"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defRPr sz="1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1pPr>
            </a:lstStyle>
            <a:p>
              <a:r>
                <a:rPr lang="en-US" sz="1050" dirty="0">
                  <a:sym typeface="Arial"/>
                </a:rPr>
                <a:t>*</a:t>
              </a:r>
              <a:endParaRPr sz="1050" dirty="0">
                <a:sym typeface="Arial"/>
              </a:endParaRPr>
            </a:p>
          </p:txBody>
        </p:sp>
      </p:grpSp>
      <p:sp>
        <p:nvSpPr>
          <p:cNvPr id="37" name="Inhaltsplatzhalter 1">
            <a:extLst>
              <a:ext uri="{FF2B5EF4-FFF2-40B4-BE49-F238E27FC236}">
                <a16:creationId xmlns:a16="http://schemas.microsoft.com/office/drawing/2014/main" id="{0782D012-C157-48D7-A4B2-74A4672589FF}"/>
              </a:ext>
            </a:extLst>
          </p:cNvPr>
          <p:cNvSpPr txBox="1">
            <a:spLocks/>
          </p:cNvSpPr>
          <p:nvPr/>
        </p:nvSpPr>
        <p:spPr>
          <a:xfrm>
            <a:off x="468313" y="1598400"/>
            <a:ext cx="3842524" cy="3492500"/>
          </a:xfrm>
          <a:prstGeom prst="rect">
            <a:avLst/>
          </a:prstGeom>
        </p:spPr>
        <p:txBody>
          <a:bodyPr vert="horz" lIns="0" tIns="0" rIns="0" bIns="0" spcCol="288000" rtlCol="0">
            <a:noAutofit/>
          </a:bodyPr>
          <a:lstStyle>
            <a:lvl1pPr marL="171450" indent="-17145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84150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6213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Extracted metamodel from API description</a:t>
            </a:r>
            <a:r>
              <a:rPr lang="en-US" baseline="30000" dirty="0"/>
              <a:t>3</a:t>
            </a:r>
          </a:p>
          <a:p>
            <a:pPr marL="0" indent="0">
              <a:lnSpc>
                <a:spcPct val="150000"/>
              </a:lnSpc>
              <a:buClr>
                <a:srgbClr val="00519E"/>
              </a:buClr>
              <a:buNone/>
            </a:pPr>
            <a:endParaRPr lang="en-US" baseline="30000" dirty="0"/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/>
              <a:t>Model data received from devices</a:t>
            </a:r>
          </a:p>
          <a:p>
            <a:pPr lvl="1">
              <a:lnSpc>
                <a:spcPct val="200000"/>
              </a:lnSpc>
              <a:buClr>
                <a:srgbClr val="00519E"/>
              </a:buClr>
            </a:pPr>
            <a:r>
              <a:rPr lang="en-US" dirty="0" err="1">
                <a:solidFill>
                  <a:srgbClr val="00519E"/>
                </a:solidFill>
              </a:rPr>
              <a:t>ComponentType</a:t>
            </a:r>
            <a:r>
              <a:rPr lang="en-US" dirty="0"/>
              <a:t>: defines a type of assets</a:t>
            </a:r>
          </a:p>
          <a:p>
            <a:pPr lvl="1">
              <a:lnSpc>
                <a:spcPct val="2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Function</a:t>
            </a:r>
            <a:r>
              <a:rPr lang="en-US" dirty="0"/>
              <a:t>: reference a function for interaction </a:t>
            </a:r>
            <a:r>
              <a:rPr lang="en-US" dirty="0" err="1">
                <a:solidFill>
                  <a:srgbClr val="00519E"/>
                </a:solidFill>
              </a:rPr>
              <a:t>PropertyDefinition</a:t>
            </a:r>
            <a:r>
              <a:rPr lang="en-US" dirty="0"/>
              <a:t>: Defines properties</a:t>
            </a:r>
          </a:p>
          <a:p>
            <a:pPr lvl="1">
              <a:lnSpc>
                <a:spcPct val="200000"/>
              </a:lnSpc>
              <a:buClr>
                <a:srgbClr val="00519E"/>
              </a:buClr>
            </a:pPr>
            <a:r>
              <a:rPr lang="en-US" dirty="0" err="1">
                <a:solidFill>
                  <a:srgbClr val="00519E"/>
                </a:solidFill>
              </a:rPr>
              <a:t>DataType</a:t>
            </a:r>
            <a:r>
              <a:rPr lang="en-US" dirty="0"/>
              <a:t>: type of properties</a:t>
            </a:r>
          </a:p>
          <a:p>
            <a:pPr lvl="1">
              <a:lnSpc>
                <a:spcPct val="2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Relationship</a:t>
            </a:r>
            <a:r>
              <a:rPr lang="en-US" dirty="0"/>
              <a:t>: associations between types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D68CDACD-18EB-6FDA-EEA2-C17E4E80E822}"/>
              </a:ext>
            </a:extLst>
          </p:cNvPr>
          <p:cNvSpPr txBox="1"/>
          <p:nvPr/>
        </p:nvSpPr>
        <p:spPr>
          <a:xfrm>
            <a:off x="4841005" y="4921689"/>
            <a:ext cx="393745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aseline="30000" dirty="0">
                <a:hlinkClick r:id="rId3"/>
              </a:rPr>
              <a:t>3</a:t>
            </a:r>
            <a:r>
              <a:rPr lang="en-US" sz="800" baseline="30000" dirty="0">
                <a:hlinkClick r:id="rId3"/>
              </a:rPr>
              <a:t> </a:t>
            </a:r>
            <a:r>
              <a:rPr lang="en-US" sz="800" dirty="0">
                <a:hlinkClick r:id="rId3"/>
              </a:rPr>
              <a:t>https://docs.aws.amazon.com/iot-twinmaker/latest/guide/what-is-twinmaker.html</a:t>
            </a:r>
            <a:r>
              <a:rPr lang="en-US" sz="8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0186935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16C651E-DB99-1808-BC54-8FC5923D58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EF958-1C90-4C86-834E-9BA4FF7595DB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2B1DC7-3423-8349-9632-6719F9C92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C7ABCC-8838-D785-3543-692DA195A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F2935E-87C0-772C-7B31-1F1275F92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ummarizing our findings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674A8DC-E475-145F-89A1-D9F047F37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Q1: What are the conceptual metamodels used by existing DT platforms?</a:t>
            </a:r>
          </a:p>
        </p:txBody>
      </p:sp>
      <p:sp>
        <p:nvSpPr>
          <p:cNvPr id="38" name="Inhaltsplatzhalter 1">
            <a:extLst>
              <a:ext uri="{FF2B5EF4-FFF2-40B4-BE49-F238E27FC236}">
                <a16:creationId xmlns:a16="http://schemas.microsoft.com/office/drawing/2014/main" id="{3D7168AD-7294-CC24-EB08-709F2B0692CA}"/>
              </a:ext>
            </a:extLst>
          </p:cNvPr>
          <p:cNvSpPr txBox="1">
            <a:spLocks/>
          </p:cNvSpPr>
          <p:nvPr/>
        </p:nvSpPr>
        <p:spPr>
          <a:xfrm>
            <a:off x="468312" y="1598400"/>
            <a:ext cx="8207375" cy="3492500"/>
          </a:xfrm>
          <a:prstGeom prst="rect">
            <a:avLst/>
          </a:prstGeom>
        </p:spPr>
        <p:txBody>
          <a:bodyPr vert="horz" lIns="0" tIns="0" rIns="0" bIns="0" spcCol="288000" rtlCol="0">
            <a:noAutofit/>
          </a:bodyPr>
          <a:lstStyle>
            <a:lvl1pPr marL="171450" indent="-17145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84150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6213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/>
              <a:t>Extraction and creation of metamodels shows oftentimes similar concepts for structural modelling</a:t>
            </a:r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/>
              <a:t>All metamodels support versioning of modeling concepts</a:t>
            </a:r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/>
              <a:t>Difficulties: </a:t>
            </a:r>
            <a:r>
              <a:rPr lang="en-US" dirty="0" err="1"/>
              <a:t>Inprecise</a:t>
            </a:r>
            <a:r>
              <a:rPr lang="en-US" dirty="0"/>
              <a:t> or missing descriptions: e.g., faults in Eclipse </a:t>
            </a:r>
            <a:r>
              <a:rPr lang="en-US" dirty="0" err="1"/>
              <a:t>Vorto</a:t>
            </a:r>
            <a:endParaRPr lang="en-US" dirty="0"/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/>
              <a:t>Interesting restrictions found: 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Different upper bounds for inheritance from super-classes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Different inheritance depth limitations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But: not further discussed or reasoned in platform documentation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34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E0A65F-A2BE-9E03-FC7C-0C99AFF24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2799" y="2250000"/>
            <a:ext cx="6278289" cy="900000"/>
          </a:xfrm>
        </p:spPr>
        <p:txBody>
          <a:bodyPr/>
          <a:lstStyle/>
          <a:p>
            <a:r>
              <a:rPr lang="en-US" sz="2400" dirty="0">
                <a:sym typeface="Wingdings" panose="05000000000000000000" pitchFamily="2" charset="2"/>
              </a:rPr>
              <a:t>RQ2: How do they </a:t>
            </a:r>
            <a:r>
              <a:rPr lang="en-US" sz="2400" dirty="0">
                <a:solidFill>
                  <a:schemeClr val="accent1"/>
                </a:solidFill>
                <a:sym typeface="Wingdings" panose="05000000000000000000" pitchFamily="2" charset="2"/>
              </a:rPr>
              <a:t>relate to existing modeling concepts </a:t>
            </a:r>
            <a:r>
              <a:rPr lang="en-US" sz="2400" dirty="0">
                <a:sym typeface="Wingdings" panose="05000000000000000000" pitchFamily="2" charset="2"/>
              </a:rPr>
              <a:t>and standards?</a:t>
            </a:r>
            <a:endParaRPr lang="en-US" sz="240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D56D0-CB23-1AFE-0319-591885BF06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872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8">
            <a:extLst>
              <a:ext uri="{FF2B5EF4-FFF2-40B4-BE49-F238E27FC236}">
                <a16:creationId xmlns:a16="http://schemas.microsoft.com/office/drawing/2014/main" id="{6B92F43B-60F2-ACF4-3600-DA6A8476507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97510530"/>
              </p:ext>
            </p:extLst>
          </p:nvPr>
        </p:nvGraphicFramePr>
        <p:xfrm>
          <a:off x="467688" y="1552580"/>
          <a:ext cx="8208000" cy="35088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4151">
                  <a:extLst>
                    <a:ext uri="{9D8B030D-6E8A-4147-A177-3AD203B41FA5}">
                      <a16:colId xmlns:a16="http://schemas.microsoft.com/office/drawing/2014/main" val="1180028073"/>
                    </a:ext>
                  </a:extLst>
                </a:gridCol>
                <a:gridCol w="1714773">
                  <a:extLst>
                    <a:ext uri="{9D8B030D-6E8A-4147-A177-3AD203B41FA5}">
                      <a16:colId xmlns:a16="http://schemas.microsoft.com/office/drawing/2014/main" val="4011711854"/>
                    </a:ext>
                  </a:extLst>
                </a:gridCol>
                <a:gridCol w="2071446">
                  <a:extLst>
                    <a:ext uri="{9D8B030D-6E8A-4147-A177-3AD203B41FA5}">
                      <a16:colId xmlns:a16="http://schemas.microsoft.com/office/drawing/2014/main" val="1049936689"/>
                    </a:ext>
                  </a:extLst>
                </a:gridCol>
                <a:gridCol w="2547630">
                  <a:extLst>
                    <a:ext uri="{9D8B030D-6E8A-4147-A177-3AD203B41FA5}">
                      <a16:colId xmlns:a16="http://schemas.microsoft.com/office/drawing/2014/main" val="926987406"/>
                    </a:ext>
                  </a:extLst>
                </a:gridCol>
              </a:tblGrid>
              <a:tr h="459778">
                <a:tc>
                  <a:txBody>
                    <a:bodyPr/>
                    <a:lstStyle/>
                    <a:p>
                      <a:r>
                        <a:rPr lang="en-US" dirty="0"/>
                        <a:t>OOM Concepts</a:t>
                      </a:r>
                      <a:br>
                        <a:rPr lang="en-US" dirty="0"/>
                      </a:br>
                      <a:r>
                        <a:rPr lang="en-US" dirty="0"/>
                        <a:t>(UML C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TDL Meta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ortolang</a:t>
                      </a:r>
                      <a:r>
                        <a:rPr lang="en-US" dirty="0"/>
                        <a:t> Meta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TwinMaker</a:t>
                      </a:r>
                      <a:r>
                        <a:rPr lang="en-US" dirty="0"/>
                        <a:t> Metamod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3653229"/>
                  </a:ext>
                </a:extLst>
              </a:tr>
              <a:tr h="410433">
                <a:tc>
                  <a:txBody>
                    <a:bodyPr/>
                    <a:lstStyle/>
                    <a:p>
                      <a:r>
                        <a:rPr lang="en-US" dirty="0"/>
                        <a:t>Cl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terf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FunctionBloc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ComponentTyp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8936822"/>
                  </a:ext>
                </a:extLst>
              </a:tr>
              <a:tr h="242528">
                <a:tc>
                  <a:txBody>
                    <a:bodyPr/>
                    <a:lstStyle/>
                    <a:p>
                      <a:r>
                        <a:rPr lang="en-US" dirty="0"/>
                        <a:t>Proper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per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per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PropertyDefinition</a:t>
                      </a:r>
                      <a:r>
                        <a:rPr lang="en-US" dirty="0"/>
                        <a:t> (</a:t>
                      </a:r>
                      <a:r>
                        <a:rPr lang="en-US" dirty="0" err="1"/>
                        <a:t>isTimeSeries</a:t>
                      </a:r>
                      <a:r>
                        <a:rPr lang="en-US" dirty="0"/>
                        <a:t>=tru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896724"/>
                  </a:ext>
                </a:extLst>
              </a:tr>
              <a:tr h="242528">
                <a:tc>
                  <a:txBody>
                    <a:bodyPr/>
                    <a:lstStyle/>
                    <a:p>
                      <a:r>
                        <a:rPr lang="en-US" dirty="0"/>
                        <a:t>Temporal</a:t>
                      </a:r>
                      <a:br>
                        <a:rPr lang="en-US" dirty="0"/>
                      </a:br>
                      <a:r>
                        <a:rPr lang="en-US" dirty="0"/>
                        <a:t>Proper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leme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v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PropertyDefinition</a:t>
                      </a:r>
                      <a:r>
                        <a:rPr lang="en-US" dirty="0"/>
                        <a:t> (</a:t>
                      </a:r>
                      <a:r>
                        <a:rPr lang="en-US" dirty="0" err="1"/>
                        <a:t>isTimeSeries</a:t>
                      </a:r>
                      <a:r>
                        <a:rPr lang="en-US" dirty="0"/>
                        <a:t>=fals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0015596"/>
                  </a:ext>
                </a:extLst>
              </a:tr>
              <a:tr h="578337">
                <a:tc>
                  <a:txBody>
                    <a:bodyPr/>
                    <a:lstStyle/>
                    <a:p>
                      <a:r>
                        <a:rPr lang="en-US" dirty="0"/>
                        <a:t>Associ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lationsh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PropertyDefinition</a:t>
                      </a:r>
                      <a:r>
                        <a:rPr lang="en-US" dirty="0"/>
                        <a:t>.</a:t>
                      </a:r>
                      <a:br>
                        <a:rPr lang="en-US" dirty="0"/>
                      </a:br>
                      <a:r>
                        <a:rPr lang="en-US" dirty="0" err="1"/>
                        <a:t>DataType</a:t>
                      </a:r>
                      <a:r>
                        <a:rPr lang="en-US" dirty="0"/>
                        <a:t>.</a:t>
                      </a:r>
                      <a:br>
                        <a:rPr lang="en-US" dirty="0"/>
                      </a:br>
                      <a:r>
                        <a:rPr lang="en-US" dirty="0"/>
                        <a:t>Relationshi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743498"/>
                  </a:ext>
                </a:extLst>
              </a:tr>
              <a:tr h="302642">
                <a:tc>
                  <a:txBody>
                    <a:bodyPr/>
                    <a:lstStyle/>
                    <a:p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m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pe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u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9625236"/>
                  </a:ext>
                </a:extLst>
              </a:tr>
              <a:tr h="578337">
                <a:tc>
                  <a:txBody>
                    <a:bodyPr/>
                    <a:lstStyle/>
                    <a:p>
                      <a:r>
                        <a:rPr lang="en-US" dirty="0"/>
                        <a:t>Compos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pon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unction</a:t>
                      </a:r>
                      <a:br>
                        <a:rPr lang="en-US" dirty="0"/>
                      </a:br>
                      <a:r>
                        <a:rPr lang="en-US" dirty="0" err="1"/>
                        <a:t>BlockProper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3503261"/>
                  </a:ext>
                </a:extLst>
              </a:tr>
            </a:tbl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8AA0A1E-97BE-8CA3-6B3F-0294DBE3AF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7E97B1-9337-47C5-A18F-51A10FEF7B48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1C5CAAB-6BF0-29C4-9D2B-E405853E14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94E29C9-2262-D25C-A786-0D5C5921F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1F068C7-89C3-700E-D420-9F8827091F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 comparison with concepts of object-orientatio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9FD5F1-12B1-AC7D-410A-D4D18922E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Q2: </a:t>
            </a:r>
            <a:r>
              <a:rPr lang="en-US" b="1" dirty="0">
                <a:sym typeface="Wingdings" panose="05000000000000000000" pitchFamily="2" charset="2"/>
              </a:rPr>
              <a:t>How do they relate to existing modeling concepts and standard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1804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E0A65F-A2BE-9E03-FC7C-0C99AFF24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2799" y="2250000"/>
            <a:ext cx="6278289" cy="900000"/>
          </a:xfrm>
        </p:spPr>
        <p:txBody>
          <a:bodyPr/>
          <a:lstStyle/>
          <a:p>
            <a:r>
              <a:rPr lang="en-US" sz="2400" dirty="0">
                <a:sym typeface="Wingdings" panose="05000000000000000000" pitchFamily="2" charset="2"/>
              </a:rPr>
              <a:t>RQ3: How can existing modeling concepts </a:t>
            </a:r>
            <a:r>
              <a:rPr lang="en-US" sz="2400" dirty="0">
                <a:solidFill>
                  <a:schemeClr val="accent1"/>
                </a:solidFill>
                <a:sym typeface="Wingdings" panose="05000000000000000000" pitchFamily="2" charset="2"/>
              </a:rPr>
              <a:t>enable</a:t>
            </a:r>
            <a:r>
              <a:rPr lang="en-US" sz="2400" dirty="0">
                <a:sym typeface="Wingdings" panose="05000000000000000000" pitchFamily="2" charset="2"/>
              </a:rPr>
              <a:t> </a:t>
            </a:r>
            <a:r>
              <a:rPr lang="en-US" sz="2400" dirty="0">
                <a:solidFill>
                  <a:schemeClr val="accent1"/>
                </a:solidFill>
                <a:sym typeface="Wingdings" panose="05000000000000000000" pitchFamily="2" charset="2"/>
              </a:rPr>
              <a:t>portability</a:t>
            </a:r>
            <a:r>
              <a:rPr lang="en-US" sz="2400" dirty="0">
                <a:sym typeface="Wingdings" panose="05000000000000000000" pitchFamily="2" charset="2"/>
              </a:rPr>
              <a:t>?</a:t>
            </a:r>
            <a:endParaRPr lang="en-US" sz="240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D56D0-CB23-1AFE-0319-591885BF06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3997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F6453A92-97EE-CEA8-C796-2759061355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598400"/>
            <a:ext cx="3688396" cy="3492500"/>
          </a:xfrm>
        </p:spPr>
        <p:txBody>
          <a:bodyPr/>
          <a:lstStyle/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Using </a:t>
            </a:r>
            <a:r>
              <a:rPr lang="en-US" dirty="0">
                <a:solidFill>
                  <a:srgbClr val="00519E"/>
                </a:solidFill>
              </a:rPr>
              <a:t>UML CD as a pivot</a:t>
            </a:r>
          </a:p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Extending UML CD with a </a:t>
            </a:r>
            <a:r>
              <a:rPr lang="en-US" dirty="0">
                <a:solidFill>
                  <a:srgbClr val="00519E"/>
                </a:solidFill>
              </a:rPr>
              <a:t>profile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Stereotypes for platform-specific concepts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Stereotypes for all OOM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dirty="0"/>
              <a:t> </a:t>
            </a:r>
          </a:p>
          <a:p>
            <a:pPr>
              <a:lnSpc>
                <a:spcPct val="150000"/>
              </a:lnSpc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 Transform between platforms</a:t>
            </a:r>
          </a:p>
          <a:p>
            <a:pPr>
              <a:lnSpc>
                <a:spcPct val="150000"/>
              </a:lnSpc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Reduce transformations from </a:t>
            </a:r>
            <a:br>
              <a:rPr lang="en-US" dirty="0"/>
            </a:br>
            <a:r>
              <a:rPr lang="en-US" dirty="0"/>
              <a:t>n</a:t>
            </a:r>
            <a:r>
              <a:rPr lang="en-US" dirty="0">
                <a:sym typeface="Wingdings" panose="05000000000000000000" pitchFamily="2" charset="2"/>
              </a:rPr>
              <a:t>(</a:t>
            </a:r>
            <a:r>
              <a:rPr lang="en-US" dirty="0"/>
              <a:t>n-1) to 2</a:t>
            </a:r>
            <a:r>
              <a:rPr lang="en-US" dirty="0">
                <a:sym typeface="Wingdings" panose="05000000000000000000" pitchFamily="2" charset="2"/>
              </a:rPr>
              <a:t></a:t>
            </a:r>
            <a:r>
              <a:rPr lang="en-US" dirty="0"/>
              <a:t>n</a:t>
            </a:r>
          </a:p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BA2E0C6-4A8B-B5FC-CF58-AADCEB3CF8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75BB0-64C1-486D-86F4-557495EF88ED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603A0F3-841B-6FF7-91C7-79DFBB554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98AD66-4C65-810B-2129-C0DF5CA3C8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FAC817-743E-4713-6CC9-E6488F2C3E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ing UML CD as a pivot language for portability between platforms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79DA4B4-8525-10B9-204C-A318FEE97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ym typeface="Wingdings" panose="05000000000000000000" pitchFamily="2" charset="2"/>
              </a:rPr>
              <a:t>RQ3: How can existing modeling concepts enable portability?</a:t>
            </a:r>
            <a:endParaRPr lang="en-US" dirty="0"/>
          </a:p>
        </p:txBody>
      </p: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7BFCB051-81F7-4F15-5CC3-64056C3812C6}"/>
              </a:ext>
            </a:extLst>
          </p:cNvPr>
          <p:cNvGrpSpPr/>
          <p:nvPr/>
        </p:nvGrpSpPr>
        <p:grpSpPr>
          <a:xfrm>
            <a:off x="4107817" y="2098867"/>
            <a:ext cx="4567870" cy="2652150"/>
            <a:chOff x="3779521" y="1839787"/>
            <a:chExt cx="4567870" cy="2652150"/>
          </a:xfrm>
        </p:grpSpPr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B60E5CFA-1C54-1D69-B699-2D036CA18C42}"/>
                </a:ext>
              </a:extLst>
            </p:cNvPr>
            <p:cNvGrpSpPr/>
            <p:nvPr/>
          </p:nvGrpSpPr>
          <p:grpSpPr>
            <a:xfrm>
              <a:off x="4244341" y="1839787"/>
              <a:ext cx="3634740" cy="1287818"/>
              <a:chOff x="4114801" y="1489553"/>
              <a:chExt cx="3634740" cy="1287818"/>
            </a:xfrm>
          </p:grpSpPr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2E91899C-D94D-4230-DA10-7A45B3A9CBD8}"/>
                  </a:ext>
                </a:extLst>
              </p:cNvPr>
              <p:cNvSpPr/>
              <p:nvPr/>
            </p:nvSpPr>
            <p:spPr>
              <a:xfrm>
                <a:off x="4114801" y="1670512"/>
                <a:ext cx="3634740" cy="1106859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C6F7EFB0-2FEF-CCAB-1A4C-A7E251DEC815}"/>
                  </a:ext>
                </a:extLst>
              </p:cNvPr>
              <p:cNvSpPr/>
              <p:nvPr/>
            </p:nvSpPr>
            <p:spPr>
              <a:xfrm>
                <a:off x="4114801" y="1489553"/>
                <a:ext cx="1279897" cy="180959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arrow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AT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Profile DTUML</a:t>
                </a:r>
              </a:p>
            </p:txBody>
          </p:sp>
          <p:grpSp>
            <p:nvGrpSpPr>
              <p:cNvPr id="42" name="Gruppieren 41">
                <a:extLst>
                  <a:ext uri="{FF2B5EF4-FFF2-40B4-BE49-F238E27FC236}">
                    <a16:creationId xmlns:a16="http://schemas.microsoft.com/office/drawing/2014/main" id="{8AFE57A7-B132-4DDD-DF0D-6CE56FF4E94B}"/>
                  </a:ext>
                </a:extLst>
              </p:cNvPr>
              <p:cNvGrpSpPr/>
              <p:nvPr/>
            </p:nvGrpSpPr>
            <p:grpSpPr>
              <a:xfrm>
                <a:off x="4221480" y="1907343"/>
                <a:ext cx="1716168" cy="673000"/>
                <a:chOff x="3829310" y="1918891"/>
                <a:chExt cx="1498738" cy="673000"/>
              </a:xfrm>
            </p:grpSpPr>
            <p:sp>
              <p:nvSpPr>
                <p:cNvPr id="35" name="Rechteck 34">
                  <a:extLst>
                    <a:ext uri="{FF2B5EF4-FFF2-40B4-BE49-F238E27FC236}">
                      <a16:creationId xmlns:a16="http://schemas.microsoft.com/office/drawing/2014/main" id="{DA72A5E1-E1D6-AB44-E56C-B6EB0D761647}"/>
                    </a:ext>
                  </a:extLst>
                </p:cNvPr>
                <p:cNvSpPr/>
                <p:nvPr/>
              </p:nvSpPr>
              <p:spPr>
                <a:xfrm>
                  <a:off x="4059578" y="1918891"/>
                  <a:ext cx="1268470" cy="453625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dk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de-AT" sz="10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" name="Rechteck 33">
                  <a:extLst>
                    <a:ext uri="{FF2B5EF4-FFF2-40B4-BE49-F238E27FC236}">
                      <a16:creationId xmlns:a16="http://schemas.microsoft.com/office/drawing/2014/main" id="{C7586B36-04AF-BD75-4D0A-11FB42D5BA84}"/>
                    </a:ext>
                  </a:extLst>
                </p:cNvPr>
                <p:cNvSpPr/>
                <p:nvPr/>
              </p:nvSpPr>
              <p:spPr>
                <a:xfrm>
                  <a:off x="3992773" y="1985427"/>
                  <a:ext cx="1268470" cy="453625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dk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de-AT" sz="10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" name="Rechteck 32">
                  <a:extLst>
                    <a:ext uri="{FF2B5EF4-FFF2-40B4-BE49-F238E27FC236}">
                      <a16:creationId xmlns:a16="http://schemas.microsoft.com/office/drawing/2014/main" id="{F545D6FA-FB63-D4B2-C1FA-FEE88BDBBA2F}"/>
                    </a:ext>
                  </a:extLst>
                </p:cNvPr>
                <p:cNvSpPr/>
                <p:nvPr/>
              </p:nvSpPr>
              <p:spPr>
                <a:xfrm>
                  <a:off x="3937765" y="2061226"/>
                  <a:ext cx="1268470" cy="453625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dk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de-AT" sz="10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" name="Rechteck 13">
                  <a:extLst>
                    <a:ext uri="{FF2B5EF4-FFF2-40B4-BE49-F238E27FC236}">
                      <a16:creationId xmlns:a16="http://schemas.microsoft.com/office/drawing/2014/main" id="{264ACDBF-8318-89E1-2892-380B46C6E2C7}"/>
                    </a:ext>
                  </a:extLst>
                </p:cNvPr>
                <p:cNvSpPr/>
                <p:nvPr/>
              </p:nvSpPr>
              <p:spPr>
                <a:xfrm>
                  <a:off x="3829310" y="2138266"/>
                  <a:ext cx="1268470" cy="453625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dk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altLang="de-DE" sz="1200" dirty="0">
                      <a:cs typeface="Arial" charset="0"/>
                    </a:rPr>
                    <a:t>«Stereotype»</a:t>
                  </a:r>
                  <a:r>
                    <a:rPr lang="de-DE" altLang="de-DE" sz="1200" i="1" dirty="0"/>
                    <a:t> </a:t>
                  </a:r>
                  <a:endParaRPr lang="de-AT" sz="12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algn="ctr"/>
                  <a:r>
                    <a:rPr lang="de-AT" sz="1200" b="1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DTUML_Property</a:t>
                  </a:r>
                  <a:endParaRPr lang="de-AT" sz="12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1" name="Gruppieren 40">
                <a:extLst>
                  <a:ext uri="{FF2B5EF4-FFF2-40B4-BE49-F238E27FC236}">
                    <a16:creationId xmlns:a16="http://schemas.microsoft.com/office/drawing/2014/main" id="{D73F2612-881C-BB9B-F19D-2DA62674C190}"/>
                  </a:ext>
                </a:extLst>
              </p:cNvPr>
              <p:cNvGrpSpPr/>
              <p:nvPr/>
            </p:nvGrpSpPr>
            <p:grpSpPr>
              <a:xfrm>
                <a:off x="6222924" y="1916451"/>
                <a:ext cx="1425981" cy="663892"/>
                <a:chOff x="5526061" y="1935436"/>
                <a:chExt cx="1425981" cy="663892"/>
              </a:xfrm>
            </p:grpSpPr>
            <p:sp>
              <p:nvSpPr>
                <p:cNvPr id="38" name="Rechteck 37">
                  <a:extLst>
                    <a:ext uri="{FF2B5EF4-FFF2-40B4-BE49-F238E27FC236}">
                      <a16:creationId xmlns:a16="http://schemas.microsoft.com/office/drawing/2014/main" id="{40BAB249-0DB6-6381-86D8-B99D9F2F7135}"/>
                    </a:ext>
                  </a:extLst>
                </p:cNvPr>
                <p:cNvSpPr/>
                <p:nvPr/>
              </p:nvSpPr>
              <p:spPr>
                <a:xfrm>
                  <a:off x="5695369" y="1935436"/>
                  <a:ext cx="1256673" cy="453625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dk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de-AT" sz="10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9" name="Rechteck 38">
                  <a:extLst>
                    <a:ext uri="{FF2B5EF4-FFF2-40B4-BE49-F238E27FC236}">
                      <a16:creationId xmlns:a16="http://schemas.microsoft.com/office/drawing/2014/main" id="{CB9401F4-7525-493C-5127-E5492658ACCD}"/>
                    </a:ext>
                  </a:extLst>
                </p:cNvPr>
                <p:cNvSpPr/>
                <p:nvPr/>
              </p:nvSpPr>
              <p:spPr>
                <a:xfrm>
                  <a:off x="5628564" y="2001972"/>
                  <a:ext cx="1268470" cy="453625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dk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de-AT" sz="10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0" name="Rechteck 39">
                  <a:extLst>
                    <a:ext uri="{FF2B5EF4-FFF2-40B4-BE49-F238E27FC236}">
                      <a16:creationId xmlns:a16="http://schemas.microsoft.com/office/drawing/2014/main" id="{308CC4E3-B574-2472-E3B8-DF673B1CE00C}"/>
                    </a:ext>
                  </a:extLst>
                </p:cNvPr>
                <p:cNvSpPr/>
                <p:nvPr/>
              </p:nvSpPr>
              <p:spPr>
                <a:xfrm>
                  <a:off x="5573556" y="2077771"/>
                  <a:ext cx="1268470" cy="453625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dk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de-AT" sz="10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" name="Rechteck 35">
                  <a:extLst>
                    <a:ext uri="{FF2B5EF4-FFF2-40B4-BE49-F238E27FC236}">
                      <a16:creationId xmlns:a16="http://schemas.microsoft.com/office/drawing/2014/main" id="{BC714EBF-2DEB-11B4-D1DD-D3B789941960}"/>
                    </a:ext>
                  </a:extLst>
                </p:cNvPr>
                <p:cNvSpPr/>
                <p:nvPr/>
              </p:nvSpPr>
              <p:spPr>
                <a:xfrm>
                  <a:off x="5526061" y="2145703"/>
                  <a:ext cx="1268470" cy="453625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dk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altLang="de-DE" sz="1200" dirty="0">
                      <a:cs typeface="Arial" charset="0"/>
                    </a:rPr>
                    <a:t>«</a:t>
                  </a:r>
                  <a:r>
                    <a:rPr lang="de-DE" altLang="de-DE" sz="1200" dirty="0" err="1">
                      <a:cs typeface="Arial" charset="0"/>
                    </a:rPr>
                    <a:t>Metaclass</a:t>
                  </a:r>
                  <a:r>
                    <a:rPr lang="de-DE" altLang="de-DE" sz="1200" dirty="0">
                      <a:cs typeface="Arial" charset="0"/>
                    </a:rPr>
                    <a:t>»</a:t>
                  </a:r>
                  <a:r>
                    <a:rPr lang="de-DE" altLang="de-DE" sz="1200" i="1" dirty="0"/>
                    <a:t> </a:t>
                  </a:r>
                  <a:endParaRPr lang="de-AT" sz="12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algn="ctr"/>
                  <a:r>
                    <a:rPr lang="de-AT" sz="12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Property</a:t>
                  </a:r>
                </a:p>
              </p:txBody>
            </p:sp>
          </p:grpSp>
          <p:cxnSp>
            <p:nvCxnSpPr>
              <p:cNvPr id="43" name="Gerade Verbindung mit Pfeil 42">
                <a:extLst>
                  <a:ext uri="{FF2B5EF4-FFF2-40B4-BE49-F238E27FC236}">
                    <a16:creationId xmlns:a16="http://schemas.microsoft.com/office/drawing/2014/main" id="{EBF244E1-EE54-A84F-B846-4FAB19F67018}"/>
                  </a:ext>
                </a:extLst>
              </p:cNvPr>
              <p:cNvCxnSpPr>
                <a:cxnSpLocks/>
                <a:stCxn id="14" idx="3"/>
                <a:endCxn id="36" idx="1"/>
              </p:cNvCxnSpPr>
              <p:nvPr/>
            </p:nvCxnSpPr>
            <p:spPr>
              <a:xfrm>
                <a:off x="5673974" y="2353531"/>
                <a:ext cx="548950" cy="0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mit Pfeil 45">
                <a:extLst>
                  <a:ext uri="{FF2B5EF4-FFF2-40B4-BE49-F238E27FC236}">
                    <a16:creationId xmlns:a16="http://schemas.microsoft.com/office/drawing/2014/main" id="{BB5CF500-AB88-025C-4F8A-5454E754B5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15835" y="2216371"/>
                <a:ext cx="407089" cy="0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mit Pfeil 47">
                <a:extLst>
                  <a:ext uri="{FF2B5EF4-FFF2-40B4-BE49-F238E27FC236}">
                    <a16:creationId xmlns:a16="http://schemas.microsoft.com/office/drawing/2014/main" id="{A3D0F822-85DD-B7C8-6635-351A3CB83D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63223" y="2119098"/>
                <a:ext cx="407089" cy="0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mit Pfeil 48">
                <a:extLst>
                  <a:ext uri="{FF2B5EF4-FFF2-40B4-BE49-F238E27FC236}">
                    <a16:creationId xmlns:a16="http://schemas.microsoft.com/office/drawing/2014/main" id="{717D429F-AF53-C9C1-A1C0-F78535AD613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937648" y="2020038"/>
                <a:ext cx="387779" cy="0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7B9D9930-C87C-8C62-04E1-442E9AE2DD41}"/>
                </a:ext>
              </a:extLst>
            </p:cNvPr>
            <p:cNvSpPr/>
            <p:nvPr/>
          </p:nvSpPr>
          <p:spPr>
            <a:xfrm>
              <a:off x="3779521" y="3915937"/>
              <a:ext cx="1419568" cy="576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200" dirty="0">
                  <a:solidFill>
                    <a:schemeClr val="tx1"/>
                  </a:solidFill>
                </a:rPr>
                <a:t>&lt;&lt;</a:t>
              </a:r>
              <a:r>
                <a:rPr lang="de-AT" sz="1200" dirty="0" err="1">
                  <a:solidFill>
                    <a:schemeClr val="tx1"/>
                  </a:solidFill>
                </a:rPr>
                <a:t>metamodel</a:t>
              </a:r>
              <a:r>
                <a:rPr lang="de-AT" sz="1200" dirty="0">
                  <a:solidFill>
                    <a:schemeClr val="tx1"/>
                  </a:solidFill>
                </a:rPr>
                <a:t>&gt;&gt;</a:t>
              </a:r>
            </a:p>
            <a:p>
              <a:pPr algn="ctr"/>
              <a:r>
                <a:rPr lang="de-AT" dirty="0">
                  <a:solidFill>
                    <a:schemeClr val="tx1"/>
                  </a:solidFill>
                </a:rPr>
                <a:t>DTDL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577CE349-5D5A-9F9B-EC24-19DAC0F45B86}"/>
                </a:ext>
              </a:extLst>
            </p:cNvPr>
            <p:cNvSpPr/>
            <p:nvPr/>
          </p:nvSpPr>
          <p:spPr>
            <a:xfrm>
              <a:off x="5353672" y="3915937"/>
              <a:ext cx="1419568" cy="576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200" dirty="0">
                  <a:solidFill>
                    <a:schemeClr val="tx1"/>
                  </a:solidFill>
                </a:rPr>
                <a:t>&lt;&lt;</a:t>
              </a:r>
              <a:r>
                <a:rPr lang="de-AT" sz="1200" dirty="0" err="1">
                  <a:solidFill>
                    <a:schemeClr val="tx1"/>
                  </a:solidFill>
                </a:rPr>
                <a:t>metamodel</a:t>
              </a:r>
              <a:r>
                <a:rPr lang="de-AT" sz="1200" dirty="0">
                  <a:solidFill>
                    <a:schemeClr val="tx1"/>
                  </a:solidFill>
                </a:rPr>
                <a:t>&gt;&gt;</a:t>
              </a:r>
            </a:p>
            <a:p>
              <a:pPr algn="ctr"/>
              <a:r>
                <a:rPr lang="de-AT" dirty="0" err="1">
                  <a:solidFill>
                    <a:schemeClr val="tx1"/>
                  </a:solidFill>
                </a:rPr>
                <a:t>TwinMaker</a:t>
              </a:r>
              <a:endParaRPr lang="de-AT" dirty="0">
                <a:solidFill>
                  <a:schemeClr val="tx1"/>
                </a:solidFill>
              </a:endParaRP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03A538CF-92DA-C85A-9F57-ABD88C27D8CC}"/>
                </a:ext>
              </a:extLst>
            </p:cNvPr>
            <p:cNvSpPr/>
            <p:nvPr/>
          </p:nvSpPr>
          <p:spPr>
            <a:xfrm>
              <a:off x="6927823" y="3915937"/>
              <a:ext cx="1419568" cy="576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200" dirty="0">
                  <a:solidFill>
                    <a:schemeClr val="tx1"/>
                  </a:solidFill>
                </a:rPr>
                <a:t>&lt;&lt;</a:t>
              </a:r>
              <a:r>
                <a:rPr lang="de-AT" sz="1200" dirty="0" err="1">
                  <a:solidFill>
                    <a:schemeClr val="tx1"/>
                  </a:solidFill>
                </a:rPr>
                <a:t>metamodel</a:t>
              </a:r>
              <a:r>
                <a:rPr lang="de-AT" sz="1200" dirty="0">
                  <a:solidFill>
                    <a:schemeClr val="tx1"/>
                  </a:solidFill>
                </a:rPr>
                <a:t>&gt;&gt;</a:t>
              </a:r>
            </a:p>
            <a:p>
              <a:pPr algn="ctr"/>
              <a:r>
                <a:rPr lang="de-AT" dirty="0" err="1">
                  <a:solidFill>
                    <a:schemeClr val="tx1"/>
                  </a:solidFill>
                </a:rPr>
                <a:t>VortoLang</a:t>
              </a:r>
              <a:endParaRPr lang="de-AT" dirty="0">
                <a:solidFill>
                  <a:schemeClr val="tx1"/>
                </a:solidFill>
              </a:endParaRPr>
            </a:p>
          </p:txBody>
        </p:sp>
        <p:cxnSp>
          <p:nvCxnSpPr>
            <p:cNvPr id="55" name="Gerade Verbindung mit Pfeil 54">
              <a:extLst>
                <a:ext uri="{FF2B5EF4-FFF2-40B4-BE49-F238E27FC236}">
                  <a16:creationId xmlns:a16="http://schemas.microsoft.com/office/drawing/2014/main" id="{903C3D65-BC47-BD3C-716E-0A395FF24850}"/>
                </a:ext>
              </a:extLst>
            </p:cNvPr>
            <p:cNvCxnSpPr>
              <a:cxnSpLocks/>
              <a:endCxn id="50" idx="0"/>
            </p:cNvCxnSpPr>
            <p:nvPr/>
          </p:nvCxnSpPr>
          <p:spPr>
            <a:xfrm flipH="1">
              <a:off x="4489305" y="3134176"/>
              <a:ext cx="851339" cy="781761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dash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mit Pfeil 56">
              <a:extLst>
                <a:ext uri="{FF2B5EF4-FFF2-40B4-BE49-F238E27FC236}">
                  <a16:creationId xmlns:a16="http://schemas.microsoft.com/office/drawing/2014/main" id="{23E5E7E3-6F8F-68EC-736C-B5F1EFA7FC7C}"/>
                </a:ext>
              </a:extLst>
            </p:cNvPr>
            <p:cNvCxnSpPr>
              <a:cxnSpLocks/>
              <a:stCxn id="11" idx="2"/>
              <a:endCxn id="51" idx="0"/>
            </p:cNvCxnSpPr>
            <p:nvPr/>
          </p:nvCxnSpPr>
          <p:spPr>
            <a:xfrm>
              <a:off x="6061711" y="3127605"/>
              <a:ext cx="1745" cy="788332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dash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mit Pfeil 59">
              <a:extLst>
                <a:ext uri="{FF2B5EF4-FFF2-40B4-BE49-F238E27FC236}">
                  <a16:creationId xmlns:a16="http://schemas.microsoft.com/office/drawing/2014/main" id="{A57C8B20-7994-3B44-6829-D6DC760186B9}"/>
                </a:ext>
              </a:extLst>
            </p:cNvPr>
            <p:cNvCxnSpPr>
              <a:cxnSpLocks/>
              <a:endCxn id="52" idx="0"/>
            </p:cNvCxnSpPr>
            <p:nvPr/>
          </p:nvCxnSpPr>
          <p:spPr>
            <a:xfrm>
              <a:off x="6921309" y="3116376"/>
              <a:ext cx="716298" cy="799561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dash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476712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F6453A92-97EE-CEA8-C796-2759061355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2" y="1598400"/>
            <a:ext cx="3573097" cy="3492500"/>
          </a:xfrm>
        </p:spPr>
        <p:txBody>
          <a:bodyPr/>
          <a:lstStyle/>
          <a:p>
            <a:pPr>
              <a:buClr>
                <a:srgbClr val="00519E"/>
              </a:buClr>
            </a:pPr>
            <a:r>
              <a:rPr lang="en-US" dirty="0"/>
              <a:t>Differentiate between </a:t>
            </a:r>
          </a:p>
          <a:p>
            <a:pPr lvl="1"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generic stereotypes </a:t>
            </a:r>
            <a:r>
              <a:rPr lang="en-US" dirty="0"/>
              <a:t>for shared concepts</a:t>
            </a:r>
          </a:p>
          <a:p>
            <a:pPr lvl="1"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platform-specific stereotypes</a:t>
            </a:r>
          </a:p>
          <a:p>
            <a:pPr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Transformation from platform-specific model to DTUML without information loss</a:t>
            </a:r>
            <a:endParaRPr lang="en-US" dirty="0"/>
          </a:p>
          <a:p>
            <a:pPr>
              <a:buClr>
                <a:srgbClr val="00519E"/>
              </a:buClr>
            </a:pPr>
            <a:endParaRPr lang="en-US" dirty="0">
              <a:solidFill>
                <a:srgbClr val="00519E"/>
              </a:solidFill>
            </a:endParaRPr>
          </a:p>
          <a:p>
            <a:pPr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Limitations</a:t>
            </a:r>
            <a:r>
              <a:rPr lang="en-US" dirty="0"/>
              <a:t>: </a:t>
            </a:r>
          </a:p>
          <a:p>
            <a:pPr lvl="1">
              <a:buClr>
                <a:srgbClr val="00519E"/>
              </a:buClr>
            </a:pPr>
            <a:r>
              <a:rPr lang="en-US" dirty="0"/>
              <a:t>Information loss between platforms</a:t>
            </a:r>
          </a:p>
          <a:p>
            <a:pPr lvl="1">
              <a:buClr>
                <a:srgbClr val="00519E"/>
              </a:buClr>
            </a:pPr>
            <a:r>
              <a:rPr lang="en-US" dirty="0"/>
              <a:t>Default values or derivation rules</a:t>
            </a:r>
          </a:p>
          <a:p>
            <a:pPr lvl="1">
              <a:buClr>
                <a:srgbClr val="00519E"/>
              </a:buClr>
            </a:pPr>
            <a:r>
              <a:rPr lang="en-US" dirty="0"/>
              <a:t>Extend Profile for new platforms</a:t>
            </a:r>
          </a:p>
          <a:p>
            <a:pPr lvl="1">
              <a:buClr>
                <a:srgbClr val="00519E"/>
              </a:buClr>
            </a:pPr>
            <a:endParaRPr lang="en-US" dirty="0"/>
          </a:p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BA2E0C6-4A8B-B5FC-CF58-AADCEB3CF8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75BB0-64C1-486D-86F4-557495EF88ED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603A0F3-841B-6FF7-91C7-79DFBB554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98AD66-4C65-810B-2129-C0DF5CA3C8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FAC817-743E-4713-6CC9-E6488F2C3E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xtending UML CD to a digital twin variant of UML CD (DTUML)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79DA4B4-8525-10B9-204C-A318FEE97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ym typeface="Wingdings" panose="05000000000000000000" pitchFamily="2" charset="2"/>
              </a:rPr>
              <a:t>RQ3: How can existing modeling concepts enable portability?</a:t>
            </a:r>
            <a:endParaRPr lang="en-US" dirty="0"/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43542823-FA3E-2B72-CD44-BEB1692EB4F2}"/>
              </a:ext>
            </a:extLst>
          </p:cNvPr>
          <p:cNvGrpSpPr/>
          <p:nvPr/>
        </p:nvGrpSpPr>
        <p:grpSpPr>
          <a:xfrm>
            <a:off x="4057968" y="1762600"/>
            <a:ext cx="4617720" cy="3164100"/>
            <a:chOff x="4057967" y="1937688"/>
            <a:chExt cx="4617720" cy="3164100"/>
          </a:xfrm>
        </p:grpSpPr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5E99006D-64EE-2660-A00F-615E1344DC3D}"/>
                </a:ext>
              </a:extLst>
            </p:cNvPr>
            <p:cNvCxnSpPr>
              <a:cxnSpLocks/>
              <a:stCxn id="13" idx="3"/>
            </p:cNvCxnSpPr>
            <p:nvPr/>
          </p:nvCxnSpPr>
          <p:spPr>
            <a:xfrm flipV="1">
              <a:off x="5568529" y="2869707"/>
              <a:ext cx="1287466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E91899C-D94D-4230-DA10-7A45B3A9CBD8}"/>
                </a:ext>
              </a:extLst>
            </p:cNvPr>
            <p:cNvSpPr/>
            <p:nvPr/>
          </p:nvSpPr>
          <p:spPr>
            <a:xfrm>
              <a:off x="4057967" y="2119668"/>
              <a:ext cx="4617720" cy="298212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C6F7EFB0-2FEF-CCAB-1A4C-A7E251DEC815}"/>
                </a:ext>
              </a:extLst>
            </p:cNvPr>
            <p:cNvSpPr/>
            <p:nvPr/>
          </p:nvSpPr>
          <p:spPr>
            <a:xfrm>
              <a:off x="4057967" y="1937688"/>
              <a:ext cx="1077598" cy="181980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900" dirty="0">
                  <a:latin typeface="Arial" panose="020B0604020202020204" pitchFamily="34" charset="0"/>
                  <a:cs typeface="Arial" panose="020B0604020202020204" pitchFamily="34" charset="0"/>
                </a:rPr>
                <a:t>Profile DTUML</a:t>
              </a:r>
            </a:p>
          </p:txBody>
        </p: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D8D3735E-528E-F3BE-8454-A42CE909D9AC}"/>
                </a:ext>
              </a:extLst>
            </p:cNvPr>
            <p:cNvGrpSpPr/>
            <p:nvPr/>
          </p:nvGrpSpPr>
          <p:grpSpPr>
            <a:xfrm>
              <a:off x="4140175" y="2255755"/>
              <a:ext cx="1428354" cy="862458"/>
              <a:chOff x="4226761" y="2255755"/>
              <a:chExt cx="1428354" cy="862458"/>
            </a:xfrm>
          </p:grpSpPr>
          <p:sp>
            <p:nvSpPr>
              <p:cNvPr id="8" name="Rechteck 7">
                <a:extLst>
                  <a:ext uri="{FF2B5EF4-FFF2-40B4-BE49-F238E27FC236}">
                    <a16:creationId xmlns:a16="http://schemas.microsoft.com/office/drawing/2014/main" id="{54251F23-4ED3-1D48-DFF5-88EDC3D87B64}"/>
                  </a:ext>
                </a:extLst>
              </p:cNvPr>
              <p:cNvSpPr/>
              <p:nvPr/>
            </p:nvSpPr>
            <p:spPr>
              <a:xfrm>
                <a:off x="4226761" y="2255755"/>
                <a:ext cx="1428353" cy="389862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arrow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altLang="de-DE" sz="1100" dirty="0">
                    <a:cs typeface="Arial" charset="0"/>
                  </a:rPr>
                  <a:t>«</a:t>
                </a:r>
                <a:r>
                  <a:rPr lang="de-DE" altLang="de-DE" sz="1000" dirty="0">
                    <a:cs typeface="Arial" charset="0"/>
                  </a:rPr>
                  <a:t>Stereotype»</a:t>
                </a:r>
                <a:r>
                  <a:rPr lang="de-DE" altLang="de-DE" sz="1000" i="1" dirty="0"/>
                  <a:t> </a:t>
                </a:r>
                <a:endParaRPr lang="de-AT" sz="10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de-AT" sz="1000" b="1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TProperty</a:t>
                </a:r>
                <a:endParaRPr lang="de-AT" sz="10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471D94EC-CADE-ADA6-F17F-35369EAEC583}"/>
                  </a:ext>
                </a:extLst>
              </p:cNvPr>
              <p:cNvSpPr/>
              <p:nvPr/>
            </p:nvSpPr>
            <p:spPr>
              <a:xfrm>
                <a:off x="4226762" y="2645616"/>
                <a:ext cx="1428353" cy="472597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arrow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Boolean </a:t>
                </a:r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isTimeSeries</a:t>
                </a:r>
                <a:endParaRPr lang="de-AT" sz="1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String </a:t>
                </a:r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nit</a:t>
                </a:r>
                <a:endParaRPr lang="de-AT" sz="1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String type</a:t>
                </a:r>
              </a:p>
            </p:txBody>
          </p:sp>
        </p:grp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264ACDBF-8318-89E1-2892-380B46C6E2C7}"/>
                </a:ext>
              </a:extLst>
            </p:cNvPr>
            <p:cNvSpPr/>
            <p:nvPr/>
          </p:nvSpPr>
          <p:spPr>
            <a:xfrm>
              <a:off x="6855995" y="4093071"/>
              <a:ext cx="1757093" cy="389862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altLang="de-DE" sz="1100" dirty="0">
                  <a:cs typeface="Arial" charset="0"/>
                </a:rPr>
                <a:t>«</a:t>
              </a:r>
              <a:r>
                <a:rPr lang="de-DE" altLang="de-DE" sz="1000" dirty="0">
                  <a:cs typeface="Arial" charset="0"/>
                </a:rPr>
                <a:t>Stereotype»</a:t>
              </a:r>
              <a:r>
                <a:rPr lang="de-DE" altLang="de-DE" sz="1000" i="1" dirty="0"/>
                <a:t> 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de-AT" sz="10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TM_Property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C3BFAB7-FF51-568E-4C3B-77A32FBE4F3F}"/>
                </a:ext>
              </a:extLst>
            </p:cNvPr>
            <p:cNvSpPr/>
            <p:nvPr/>
          </p:nvSpPr>
          <p:spPr>
            <a:xfrm>
              <a:off x="6855995" y="4479841"/>
              <a:ext cx="1757094" cy="536166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Boolean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isExternalId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Boolean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isStoredLocally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List&lt;String&gt;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allowedValues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8B68B2A-EBCB-C213-4E29-9D5B6A616CFF}"/>
                </a:ext>
              </a:extLst>
            </p:cNvPr>
            <p:cNvSpPr/>
            <p:nvPr/>
          </p:nvSpPr>
          <p:spPr>
            <a:xfrm>
              <a:off x="5639623" y="4493822"/>
              <a:ext cx="1121302" cy="256351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String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quantity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AED0E8F9-DB01-DEAC-B21F-52BBCAF0A7FB}"/>
                </a:ext>
              </a:extLst>
            </p:cNvPr>
            <p:cNvSpPr/>
            <p:nvPr/>
          </p:nvSpPr>
          <p:spPr>
            <a:xfrm>
              <a:off x="4140175" y="4089764"/>
              <a:ext cx="1400682" cy="389862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altLang="de-DE" sz="1100" dirty="0">
                  <a:cs typeface="Arial" charset="0"/>
                </a:rPr>
                <a:t>«</a:t>
              </a:r>
              <a:r>
                <a:rPr lang="de-DE" altLang="de-DE" sz="1000" dirty="0">
                  <a:cs typeface="Arial" charset="0"/>
                </a:rPr>
                <a:t>Stereotype»</a:t>
              </a:r>
              <a:r>
                <a:rPr lang="de-DE" altLang="de-DE" sz="1000" i="1" dirty="0"/>
                <a:t> 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de-AT" sz="10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L_Property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FF76176A-B7B2-CEC7-7046-B5341DFA062D}"/>
                </a:ext>
              </a:extLst>
            </p:cNvPr>
            <p:cNvSpPr/>
            <p:nvPr/>
          </p:nvSpPr>
          <p:spPr>
            <a:xfrm>
              <a:off x="4140175" y="4479626"/>
              <a:ext cx="1400682" cy="418412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Boolean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isFault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String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constraintRule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2ED98B2-F23E-181F-B050-AA1A25C9FBF9}"/>
                </a:ext>
              </a:extLst>
            </p:cNvPr>
            <p:cNvSpPr/>
            <p:nvPr/>
          </p:nvSpPr>
          <p:spPr>
            <a:xfrm>
              <a:off x="5639624" y="4097789"/>
              <a:ext cx="1121301" cy="396033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altLang="de-DE" sz="1100" dirty="0">
                  <a:cs typeface="Arial" charset="0"/>
                </a:rPr>
                <a:t>«</a:t>
              </a:r>
              <a:r>
                <a:rPr lang="de-DE" altLang="de-DE" sz="1000" dirty="0">
                  <a:cs typeface="Arial" charset="0"/>
                </a:rPr>
                <a:t>Stereotype»</a:t>
              </a:r>
              <a:r>
                <a:rPr lang="de-DE" altLang="de-DE" sz="1000" i="1" dirty="0"/>
                <a:t> 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de-AT" sz="10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DTDL_Property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2" name="Verbinder: gewinkelt 21">
              <a:extLst>
                <a:ext uri="{FF2B5EF4-FFF2-40B4-BE49-F238E27FC236}">
                  <a16:creationId xmlns:a16="http://schemas.microsoft.com/office/drawing/2014/main" id="{3D0DF137-C2C3-6A12-3129-A6742AF19D54}"/>
                </a:ext>
              </a:extLst>
            </p:cNvPr>
            <p:cNvCxnSpPr>
              <a:cxnSpLocks/>
              <a:stCxn id="14" idx="0"/>
              <a:endCxn id="39" idx="2"/>
            </p:cNvCxnSpPr>
            <p:nvPr/>
          </p:nvCxnSpPr>
          <p:spPr>
            <a:xfrm rot="16200000" flipV="1">
              <a:off x="7507706" y="3866235"/>
              <a:ext cx="451426" cy="2246"/>
            </a:xfrm>
            <a:prstGeom prst="bentConnector3">
              <a:avLst>
                <a:gd name="adj1" fmla="val 50000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Verbinder: gewinkelt 22">
              <a:extLst>
                <a:ext uri="{FF2B5EF4-FFF2-40B4-BE49-F238E27FC236}">
                  <a16:creationId xmlns:a16="http://schemas.microsoft.com/office/drawing/2014/main" id="{60F0795A-04AA-30AA-8EDE-BFA24D20A9FD}"/>
                </a:ext>
              </a:extLst>
            </p:cNvPr>
            <p:cNvCxnSpPr>
              <a:cxnSpLocks/>
              <a:stCxn id="17" idx="0"/>
              <a:endCxn id="39" idx="2"/>
            </p:cNvCxnSpPr>
            <p:nvPr/>
          </p:nvCxnSpPr>
          <p:spPr>
            <a:xfrm rot="5400000" flipH="1" flipV="1">
              <a:off x="6062347" y="2419815"/>
              <a:ext cx="448119" cy="2891780"/>
            </a:xfrm>
            <a:prstGeom prst="bentConnector3">
              <a:avLst>
                <a:gd name="adj1" fmla="val 50000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2968FAC3-555A-9508-904B-53C03BB3B35E}"/>
                </a:ext>
              </a:extLst>
            </p:cNvPr>
            <p:cNvGrpSpPr/>
            <p:nvPr/>
          </p:nvGrpSpPr>
          <p:grpSpPr>
            <a:xfrm>
              <a:off x="6855995" y="2255755"/>
              <a:ext cx="1752602" cy="1385890"/>
              <a:chOff x="6279966" y="2255755"/>
              <a:chExt cx="1752602" cy="1385890"/>
            </a:xfrm>
          </p:grpSpPr>
          <p:sp>
            <p:nvSpPr>
              <p:cNvPr id="9" name="Rechteck 8">
                <a:extLst>
                  <a:ext uri="{FF2B5EF4-FFF2-40B4-BE49-F238E27FC236}">
                    <a16:creationId xmlns:a16="http://schemas.microsoft.com/office/drawing/2014/main" id="{5CFE048E-B196-7E72-22CF-FE60444CA226}"/>
                  </a:ext>
                </a:extLst>
              </p:cNvPr>
              <p:cNvSpPr/>
              <p:nvPr/>
            </p:nvSpPr>
            <p:spPr>
              <a:xfrm>
                <a:off x="6279966" y="2255755"/>
                <a:ext cx="1752602" cy="389862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arrow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altLang="de-DE" sz="1100" dirty="0">
                    <a:cs typeface="Arial" charset="0"/>
                  </a:rPr>
                  <a:t>«</a:t>
                </a:r>
                <a:r>
                  <a:rPr lang="de-DE" altLang="de-DE" sz="1000" dirty="0" err="1">
                    <a:cs typeface="Arial" charset="0"/>
                  </a:rPr>
                  <a:t>Metaclass</a:t>
                </a:r>
                <a:r>
                  <a:rPr lang="de-DE" altLang="de-DE" sz="1000" dirty="0">
                    <a:cs typeface="Arial" charset="0"/>
                  </a:rPr>
                  <a:t>»</a:t>
                </a:r>
                <a:r>
                  <a:rPr lang="de-DE" altLang="de-DE" sz="1000" i="1" dirty="0"/>
                  <a:t> </a:t>
                </a:r>
                <a:endParaRPr lang="de-AT" sz="10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de-AT" sz="10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Property</a:t>
                </a:r>
              </a:p>
            </p:txBody>
          </p:sp>
          <p:sp>
            <p:nvSpPr>
              <p:cNvPr id="39" name="Rechteck 38">
                <a:extLst>
                  <a:ext uri="{FF2B5EF4-FFF2-40B4-BE49-F238E27FC236}">
                    <a16:creationId xmlns:a16="http://schemas.microsoft.com/office/drawing/2014/main" id="{16BE5520-10D3-9E1F-2E26-3882DE7EB8DA}"/>
                  </a:ext>
                </a:extLst>
              </p:cNvPr>
              <p:cNvSpPr/>
              <p:nvPr/>
            </p:nvSpPr>
            <p:spPr>
              <a:xfrm>
                <a:off x="6279966" y="2645616"/>
                <a:ext cx="1752602" cy="996029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arrow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Class type</a:t>
                </a:r>
              </a:p>
              <a:p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Int</a:t>
                </a:r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lower</a:t>
                </a:r>
                <a:endParaRPr lang="de-AT" sz="1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Int</a:t>
                </a:r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pper</a:t>
                </a:r>
                <a:endParaRPr lang="de-AT" sz="1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Boolean </a:t>
                </a:r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readOnly</a:t>
                </a:r>
                <a:endParaRPr lang="de-AT" sz="1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Property </a:t>
                </a:r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redefinedProperty</a:t>
                </a:r>
                <a:endParaRPr lang="de-AT" sz="1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Value </a:t>
                </a:r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faultValue</a:t>
                </a:r>
                <a:endParaRPr lang="de-AT" sz="1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44" name="Verbinder: gewinkelt 43">
              <a:extLst>
                <a:ext uri="{FF2B5EF4-FFF2-40B4-BE49-F238E27FC236}">
                  <a16:creationId xmlns:a16="http://schemas.microsoft.com/office/drawing/2014/main" id="{0B9EE979-B296-B498-6C6A-73B8E5E76133}"/>
                </a:ext>
              </a:extLst>
            </p:cNvPr>
            <p:cNvCxnSpPr>
              <a:cxnSpLocks/>
              <a:stCxn id="21" idx="0"/>
              <a:endCxn id="39" idx="2"/>
            </p:cNvCxnSpPr>
            <p:nvPr/>
          </p:nvCxnSpPr>
          <p:spPr>
            <a:xfrm rot="5400000" flipH="1" flipV="1">
              <a:off x="6738213" y="3103707"/>
              <a:ext cx="456144" cy="1532021"/>
            </a:xfrm>
            <a:prstGeom prst="bentConnector3">
              <a:avLst>
                <a:gd name="adj1" fmla="val 50000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538049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19242B-F1DF-C9F7-F10E-603390E23F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0239C-0BDC-464C-A322-0834A0D3819E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693CFC-D174-AE90-D3ED-A334CDD26C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6A5E549-15BC-F5A0-96C9-88554235D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A6D0A7D-C212-3753-441D-5E74B893CE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pplying the UMLDT Profile to a demonstration case (for DTDL and TM)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FD5CE0E-0817-DEF9-1EEF-DD4A9FE53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ym typeface="Wingdings" panose="05000000000000000000" pitchFamily="2" charset="2"/>
              </a:rPr>
              <a:t>RQ3: How can existing modeling concepts enable portability?</a:t>
            </a:r>
            <a:endParaRPr lang="en-US" dirty="0"/>
          </a:p>
        </p:txBody>
      </p: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8AF3E862-A98C-81C8-B0C8-FD9D49FC9D90}"/>
              </a:ext>
            </a:extLst>
          </p:cNvPr>
          <p:cNvGrpSpPr/>
          <p:nvPr/>
        </p:nvGrpSpPr>
        <p:grpSpPr>
          <a:xfrm>
            <a:off x="613530" y="1547785"/>
            <a:ext cx="7757538" cy="3346336"/>
            <a:chOff x="553145" y="1547785"/>
            <a:chExt cx="7757538" cy="3346336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46449BC9-FA4C-E1B3-81EE-90655FB9644A}"/>
                </a:ext>
              </a:extLst>
            </p:cNvPr>
            <p:cNvSpPr/>
            <p:nvPr/>
          </p:nvSpPr>
          <p:spPr>
            <a:xfrm>
              <a:off x="553146" y="1635026"/>
              <a:ext cx="2730114" cy="581394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MClas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{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sSingleton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u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} </a:t>
              </a:r>
              <a:b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</a:b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Building</a:t>
              </a:r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20470C98-9E32-23F8-4147-A2176C85F3C0}"/>
                </a:ext>
              </a:extLst>
            </p:cNvPr>
            <p:cNvSpPr/>
            <p:nvPr/>
          </p:nvSpPr>
          <p:spPr>
            <a:xfrm>
              <a:off x="5421180" y="1644637"/>
              <a:ext cx="2889503" cy="564465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DLClas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</a:t>
              </a:r>
              <a:b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</a:b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{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isplayNam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mperatur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Sensor“} </a:t>
              </a:r>
              <a:b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</a:b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mperatureSensor</a:t>
              </a:r>
              <a:endParaRPr kumimoji="0" lang="de-AT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F1FBD691-961A-3703-C232-5760B2EFE6EB}"/>
                </a:ext>
              </a:extLst>
            </p:cNvPr>
            <p:cNvSpPr/>
            <p:nvPr/>
          </p:nvSpPr>
          <p:spPr>
            <a:xfrm>
              <a:off x="553145" y="2728061"/>
              <a:ext cx="2730114" cy="24861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oom</a:t>
              </a:r>
            </a:p>
          </p:txBody>
        </p:sp>
        <p:cxnSp>
          <p:nvCxnSpPr>
            <p:cNvPr id="48" name="Verbinder: gewinkelt 98">
              <a:extLst>
                <a:ext uri="{FF2B5EF4-FFF2-40B4-BE49-F238E27FC236}">
                  <a16:creationId xmlns:a16="http://schemas.microsoft.com/office/drawing/2014/main" id="{F07C6181-D258-6C94-6935-DDAFC431BDCB}"/>
                </a:ext>
              </a:extLst>
            </p:cNvPr>
            <p:cNvCxnSpPr>
              <a:cxnSpLocks/>
              <a:stCxn id="53" idx="2"/>
              <a:endCxn id="47" idx="0"/>
            </p:cNvCxnSpPr>
            <p:nvPr/>
          </p:nvCxnSpPr>
          <p:spPr>
            <a:xfrm rot="16200000" flipH="1">
              <a:off x="1742795" y="2552653"/>
              <a:ext cx="350571" cy="243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FF61622D-6348-EDF9-6206-72B371C2FDE9}"/>
                </a:ext>
              </a:extLst>
            </p:cNvPr>
            <p:cNvSpPr/>
            <p:nvPr/>
          </p:nvSpPr>
          <p:spPr>
            <a:xfrm>
              <a:off x="3651160" y="1645907"/>
              <a:ext cx="1248751" cy="24861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obot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16283ACB-B698-0524-A565-F12B38F7088F}"/>
                </a:ext>
              </a:extLst>
            </p:cNvPr>
            <p:cNvSpPr/>
            <p:nvPr/>
          </p:nvSpPr>
          <p:spPr>
            <a:xfrm>
              <a:off x="3651160" y="2728546"/>
              <a:ext cx="1248751" cy="24861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ontroller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48873222-B402-0FE4-D365-E9BD8D724181}"/>
                </a:ext>
              </a:extLst>
            </p:cNvPr>
            <p:cNvSpPr/>
            <p:nvPr/>
          </p:nvSpPr>
          <p:spPr>
            <a:xfrm>
              <a:off x="3651160" y="3833869"/>
              <a:ext cx="1248751" cy="24538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arm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0CCC71FA-5E15-3F20-9B09-1EC92ABDADCC}"/>
                </a:ext>
              </a:extLst>
            </p:cNvPr>
            <p:cNvSpPr/>
            <p:nvPr/>
          </p:nvSpPr>
          <p:spPr>
            <a:xfrm>
              <a:off x="553145" y="4336162"/>
              <a:ext cx="2730114" cy="557959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DLClas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{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isplayNam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Ventilation System“}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VentilationSystem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3" name="Raute 52">
              <a:extLst>
                <a:ext uri="{FF2B5EF4-FFF2-40B4-BE49-F238E27FC236}">
                  <a16:creationId xmlns:a16="http://schemas.microsoft.com/office/drawing/2014/main" id="{21775047-F719-44C4-2585-B888D50EA2FA}"/>
                </a:ext>
              </a:extLst>
            </p:cNvPr>
            <p:cNvSpPr/>
            <p:nvPr/>
          </p:nvSpPr>
          <p:spPr>
            <a:xfrm flipH="1">
              <a:off x="1861455" y="2225215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54" name="Raute 53">
              <a:extLst>
                <a:ext uri="{FF2B5EF4-FFF2-40B4-BE49-F238E27FC236}">
                  <a16:creationId xmlns:a16="http://schemas.microsoft.com/office/drawing/2014/main" id="{0D7A0779-3611-603A-9444-27F4B928F9F5}"/>
                </a:ext>
              </a:extLst>
            </p:cNvPr>
            <p:cNvSpPr/>
            <p:nvPr/>
          </p:nvSpPr>
          <p:spPr>
            <a:xfrm flipH="1">
              <a:off x="1860082" y="3322618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55" name="Raute 54">
              <a:extLst>
                <a:ext uri="{FF2B5EF4-FFF2-40B4-BE49-F238E27FC236}">
                  <a16:creationId xmlns:a16="http://schemas.microsoft.com/office/drawing/2014/main" id="{392023BF-A141-52D8-163B-DC4D3B958E98}"/>
                </a:ext>
              </a:extLst>
            </p:cNvPr>
            <p:cNvSpPr/>
            <p:nvPr/>
          </p:nvSpPr>
          <p:spPr>
            <a:xfrm flipH="1">
              <a:off x="4218192" y="3071427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56" name="Raute 55">
              <a:extLst>
                <a:ext uri="{FF2B5EF4-FFF2-40B4-BE49-F238E27FC236}">
                  <a16:creationId xmlns:a16="http://schemas.microsoft.com/office/drawing/2014/main" id="{B5E56732-4DA5-0AAC-9F48-B6EDB9B010B3}"/>
                </a:ext>
              </a:extLst>
            </p:cNvPr>
            <p:cNvSpPr/>
            <p:nvPr/>
          </p:nvSpPr>
          <p:spPr>
            <a:xfrm rot="10800000" flipH="1">
              <a:off x="4218192" y="1969458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57" name="Raute 56">
              <a:extLst>
                <a:ext uri="{FF2B5EF4-FFF2-40B4-BE49-F238E27FC236}">
                  <a16:creationId xmlns:a16="http://schemas.microsoft.com/office/drawing/2014/main" id="{773365C8-152F-5FD9-3437-F0BDB5153C6E}"/>
                </a:ext>
              </a:extLst>
            </p:cNvPr>
            <p:cNvSpPr/>
            <p:nvPr/>
          </p:nvSpPr>
          <p:spPr>
            <a:xfrm rot="16200000" flipH="1">
              <a:off x="3313519" y="1694305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75AB1227-7FF7-D812-C40C-69F62AE26798}"/>
                </a:ext>
              </a:extLst>
            </p:cNvPr>
            <p:cNvSpPr/>
            <p:nvPr/>
          </p:nvSpPr>
          <p:spPr>
            <a:xfrm>
              <a:off x="553146" y="2979189"/>
              <a:ext cx="2730114" cy="328243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nt</a:t>
              </a: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de-AT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qLevel</a:t>
              </a: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Property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 {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sTimeSerie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u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}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CDD405F6-B932-C46B-A029-935745B13C8E}"/>
                </a:ext>
              </a:extLst>
            </p:cNvPr>
            <p:cNvSpPr/>
            <p:nvPr/>
          </p:nvSpPr>
          <p:spPr>
            <a:xfrm>
              <a:off x="5421175" y="2209107"/>
              <a:ext cx="2889504" cy="1181044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tring type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tring </a:t>
              </a:r>
              <a:r>
                <a:rPr kumimoji="0" lang="de-AT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value</a:t>
              </a: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Property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 {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sTimeSerie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ue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unit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egreeFahrenheit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“}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,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b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</a:b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DLProperty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{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quantity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mperatur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“}</a:t>
              </a: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50D2E2A3-EE4B-65A5-6B43-1854DE853A49}"/>
                </a:ext>
              </a:extLst>
            </p:cNvPr>
            <p:cNvSpPr/>
            <p:nvPr/>
          </p:nvSpPr>
          <p:spPr>
            <a:xfrm>
              <a:off x="3651160" y="4079258"/>
              <a:ext cx="1248751" cy="24538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Boolean </a:t>
              </a:r>
              <a:r>
                <a:rPr kumimoji="0" lang="de-AT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sActive</a:t>
              </a: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E3E34B08-8A5E-9CE3-1B4A-275B3C52DC89}"/>
                </a:ext>
              </a:extLst>
            </p:cNvPr>
            <p:cNvSpPr/>
            <p:nvPr/>
          </p:nvSpPr>
          <p:spPr>
            <a:xfrm>
              <a:off x="3651160" y="1894529"/>
              <a:ext cx="1248751" cy="6753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62" name="Verbinder: gewinkelt 98">
              <a:extLst>
                <a:ext uri="{FF2B5EF4-FFF2-40B4-BE49-F238E27FC236}">
                  <a16:creationId xmlns:a16="http://schemas.microsoft.com/office/drawing/2014/main" id="{9361AF56-3825-371F-606A-B6BF69B566C1}"/>
                </a:ext>
              </a:extLst>
            </p:cNvPr>
            <p:cNvCxnSpPr>
              <a:cxnSpLocks/>
              <a:stCxn id="56" idx="0"/>
              <a:endCxn id="50" idx="0"/>
            </p:cNvCxnSpPr>
            <p:nvPr/>
          </p:nvCxnSpPr>
          <p:spPr>
            <a:xfrm rot="16200000" flipH="1">
              <a:off x="3971710" y="2424719"/>
              <a:ext cx="606813" cy="840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63" name="Verbinder: gewinkelt 98">
              <a:extLst>
                <a:ext uri="{FF2B5EF4-FFF2-40B4-BE49-F238E27FC236}">
                  <a16:creationId xmlns:a16="http://schemas.microsoft.com/office/drawing/2014/main" id="{3F05A8CB-AA0E-5F3E-BA71-615F04DBD330}"/>
                </a:ext>
              </a:extLst>
            </p:cNvPr>
            <p:cNvCxnSpPr>
              <a:cxnSpLocks/>
              <a:stCxn id="57" idx="2"/>
              <a:endCxn id="49" idx="1"/>
            </p:cNvCxnSpPr>
            <p:nvPr/>
          </p:nvCxnSpPr>
          <p:spPr>
            <a:xfrm flipV="1">
              <a:off x="3446156" y="1770220"/>
              <a:ext cx="205000" cy="223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64" name="Verbinder: gewinkelt 98">
              <a:extLst>
                <a:ext uri="{FF2B5EF4-FFF2-40B4-BE49-F238E27FC236}">
                  <a16:creationId xmlns:a16="http://schemas.microsoft.com/office/drawing/2014/main" id="{BC2C9853-8D45-6059-3E45-B0D0D0636418}"/>
                </a:ext>
              </a:extLst>
            </p:cNvPr>
            <p:cNvCxnSpPr>
              <a:cxnSpLocks/>
              <a:stCxn id="71" idx="0"/>
              <a:endCxn id="46" idx="1"/>
            </p:cNvCxnSpPr>
            <p:nvPr/>
          </p:nvCxnSpPr>
          <p:spPr>
            <a:xfrm flipV="1">
              <a:off x="5061634" y="1926869"/>
              <a:ext cx="359541" cy="868996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65" name="Verbinder: gewinkelt 98">
              <a:extLst>
                <a:ext uri="{FF2B5EF4-FFF2-40B4-BE49-F238E27FC236}">
                  <a16:creationId xmlns:a16="http://schemas.microsoft.com/office/drawing/2014/main" id="{4584C78C-D64B-7B0A-AFC8-2AA826E5130E}"/>
                </a:ext>
              </a:extLst>
            </p:cNvPr>
            <p:cNvCxnSpPr>
              <a:cxnSpLocks/>
              <a:stCxn id="55" idx="2"/>
              <a:endCxn id="51" idx="0"/>
            </p:cNvCxnSpPr>
            <p:nvPr/>
          </p:nvCxnSpPr>
          <p:spPr>
            <a:xfrm rot="16200000" flipH="1">
              <a:off x="3970030" y="3528363"/>
              <a:ext cx="610171" cy="840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66" name="Verbinder: gewinkelt 98">
              <a:extLst>
                <a:ext uri="{FF2B5EF4-FFF2-40B4-BE49-F238E27FC236}">
                  <a16:creationId xmlns:a16="http://schemas.microsoft.com/office/drawing/2014/main" id="{7F649880-6F7A-66FB-F3C8-A9A607C7E6DB}"/>
                </a:ext>
              </a:extLst>
            </p:cNvPr>
            <p:cNvCxnSpPr>
              <a:cxnSpLocks/>
              <a:stCxn id="54" idx="2"/>
              <a:endCxn id="52" idx="0"/>
            </p:cNvCxnSpPr>
            <p:nvPr/>
          </p:nvCxnSpPr>
          <p:spPr>
            <a:xfrm rot="16200000" flipH="1">
              <a:off x="1486758" y="3904719"/>
              <a:ext cx="861270" cy="1617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67" name="Verbinder: gewinkelt 98">
              <a:extLst>
                <a:ext uri="{FF2B5EF4-FFF2-40B4-BE49-F238E27FC236}">
                  <a16:creationId xmlns:a16="http://schemas.microsoft.com/office/drawing/2014/main" id="{4F9B6C95-AA9A-8310-9948-9639BF5CA320}"/>
                </a:ext>
              </a:extLst>
            </p:cNvPr>
            <p:cNvCxnSpPr>
              <a:cxnSpLocks/>
              <a:stCxn id="47" idx="3"/>
              <a:endCxn id="50" idx="1"/>
            </p:cNvCxnSpPr>
            <p:nvPr/>
          </p:nvCxnSpPr>
          <p:spPr>
            <a:xfrm>
              <a:off x="3283259" y="2852370"/>
              <a:ext cx="367896" cy="485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C1685CE6-934E-6022-066A-395A925963E9}"/>
                </a:ext>
              </a:extLst>
            </p:cNvPr>
            <p:cNvSpPr/>
            <p:nvPr/>
          </p:nvSpPr>
          <p:spPr>
            <a:xfrm>
              <a:off x="5421175" y="3545267"/>
              <a:ext cx="2889504" cy="496706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DLClas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{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isplayNam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 CO</a:t>
              </a:r>
              <a:r>
                <a:rPr kumimoji="0" lang="de-AT" sz="1200" b="1" i="0" u="none" strike="noStrike" kern="0" cap="none" spc="0" normalizeH="0" baseline="-2500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2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Sensor“}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O2Sensor</a:t>
              </a:r>
              <a:endParaRPr kumimoji="0" lang="de-AT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CF5B82D7-1CC5-802F-7401-5379DD549DDA}"/>
                </a:ext>
              </a:extLst>
            </p:cNvPr>
            <p:cNvSpPr/>
            <p:nvPr/>
          </p:nvSpPr>
          <p:spPr>
            <a:xfrm>
              <a:off x="5420334" y="4041973"/>
              <a:ext cx="2890345" cy="85214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tring type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tring </a:t>
              </a:r>
              <a:r>
                <a:rPr kumimoji="0" lang="de-AT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value</a:t>
              </a: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Property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 {</a:t>
              </a: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sTimeSerie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ue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unit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ppm“ }</a:t>
              </a:r>
            </a:p>
          </p:txBody>
        </p:sp>
        <p:cxnSp>
          <p:nvCxnSpPr>
            <p:cNvPr id="70" name="Verbinder: gewinkelt 98">
              <a:extLst>
                <a:ext uri="{FF2B5EF4-FFF2-40B4-BE49-F238E27FC236}">
                  <a16:creationId xmlns:a16="http://schemas.microsoft.com/office/drawing/2014/main" id="{1FCD63A6-C327-7713-49D3-992986FDBEBE}"/>
                </a:ext>
              </a:extLst>
            </p:cNvPr>
            <p:cNvCxnSpPr>
              <a:cxnSpLocks/>
              <a:stCxn id="72" idx="0"/>
              <a:endCxn id="68" idx="1"/>
            </p:cNvCxnSpPr>
            <p:nvPr/>
          </p:nvCxnSpPr>
          <p:spPr>
            <a:xfrm>
              <a:off x="5061639" y="2969149"/>
              <a:ext cx="359537" cy="824471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71" name="Raute 70">
              <a:extLst>
                <a:ext uri="{FF2B5EF4-FFF2-40B4-BE49-F238E27FC236}">
                  <a16:creationId xmlns:a16="http://schemas.microsoft.com/office/drawing/2014/main" id="{8E83E449-2D03-833D-9013-E187672A256E}"/>
                </a:ext>
              </a:extLst>
            </p:cNvPr>
            <p:cNvSpPr/>
            <p:nvPr/>
          </p:nvSpPr>
          <p:spPr>
            <a:xfrm rot="5400000" flipH="1">
              <a:off x="4928997" y="2719733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72" name="Raute 71">
              <a:extLst>
                <a:ext uri="{FF2B5EF4-FFF2-40B4-BE49-F238E27FC236}">
                  <a16:creationId xmlns:a16="http://schemas.microsoft.com/office/drawing/2014/main" id="{B6B03CBD-D3AD-45E4-6A8F-BEE37D150FCB}"/>
                </a:ext>
              </a:extLst>
            </p:cNvPr>
            <p:cNvSpPr/>
            <p:nvPr/>
          </p:nvSpPr>
          <p:spPr>
            <a:xfrm rot="5400000" flipH="1">
              <a:off x="4928997" y="2893013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A9114795-FCF4-0801-5341-E57F2A7AC229}"/>
                </a:ext>
              </a:extLst>
            </p:cNvPr>
            <p:cNvSpPr/>
            <p:nvPr/>
          </p:nvSpPr>
          <p:spPr>
            <a:xfrm>
              <a:off x="3648945" y="2979366"/>
              <a:ext cx="1248751" cy="6753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DE9D586E-5391-10A3-578A-BCCA25679463}"/>
                </a:ext>
              </a:extLst>
            </p:cNvPr>
            <p:cNvSpPr txBox="1"/>
            <p:nvPr/>
          </p:nvSpPr>
          <p:spPr>
            <a:xfrm>
              <a:off x="3446156" y="1547785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AT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</a:p>
          </p:txBody>
        </p: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D286ED47-5FF7-65A2-7666-1DE28E31CF74}"/>
                </a:ext>
              </a:extLst>
            </p:cNvPr>
            <p:cNvSpPr txBox="1"/>
            <p:nvPr/>
          </p:nvSpPr>
          <p:spPr>
            <a:xfrm>
              <a:off x="4329584" y="2455079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1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0D1992A5-56EC-4991-C7AE-550A8F3D8B0D}"/>
                </a:ext>
              </a:extLst>
            </p:cNvPr>
            <p:cNvSpPr txBox="1"/>
            <p:nvPr/>
          </p:nvSpPr>
          <p:spPr>
            <a:xfrm>
              <a:off x="1965731" y="4041973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BA74BE41-541C-30BA-FDD7-990CA970BDCB}"/>
                </a:ext>
              </a:extLst>
            </p:cNvPr>
            <p:cNvSpPr txBox="1"/>
            <p:nvPr/>
          </p:nvSpPr>
          <p:spPr>
            <a:xfrm>
              <a:off x="3422055" y="2656663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142F7CFB-28F2-3A9B-7174-884D04242D77}"/>
                </a:ext>
              </a:extLst>
            </p:cNvPr>
            <p:cNvSpPr txBox="1"/>
            <p:nvPr/>
          </p:nvSpPr>
          <p:spPr>
            <a:xfrm>
              <a:off x="4329583" y="3569435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1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EACC57ED-7312-373D-0A0D-881881815305}"/>
                </a:ext>
              </a:extLst>
            </p:cNvPr>
            <p:cNvSpPr txBox="1"/>
            <p:nvPr/>
          </p:nvSpPr>
          <p:spPr>
            <a:xfrm>
              <a:off x="5127903" y="1770215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40B1CA9F-DD86-AF28-D211-4597342D1CCB}"/>
                </a:ext>
              </a:extLst>
            </p:cNvPr>
            <p:cNvSpPr txBox="1"/>
            <p:nvPr/>
          </p:nvSpPr>
          <p:spPr>
            <a:xfrm>
              <a:off x="5183635" y="3791624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D9CF2F67-4EDC-9D23-25FA-50C2C9AD5975}"/>
                </a:ext>
              </a:extLst>
            </p:cNvPr>
            <p:cNvSpPr txBox="1"/>
            <p:nvPr/>
          </p:nvSpPr>
          <p:spPr>
            <a:xfrm>
              <a:off x="1973090" y="2453818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68846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21EA5F13-BB0B-B9E6-38C6-FFC99F290B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598400"/>
            <a:ext cx="8207375" cy="3492500"/>
          </a:xfrm>
        </p:spPr>
        <p:txBody>
          <a:bodyPr/>
          <a:lstStyle/>
          <a:p>
            <a:pPr>
              <a:buClr>
                <a:srgbClr val="00519E"/>
              </a:buClr>
            </a:pPr>
            <a:r>
              <a:rPr lang="en-US" dirty="0"/>
              <a:t>RQ1: The extracted metamodels share similar modeling concepts</a:t>
            </a:r>
          </a:p>
          <a:p>
            <a:pPr lvl="1"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But: Many aspects not covered </a:t>
            </a:r>
            <a:r>
              <a:rPr lang="en-US" dirty="0"/>
              <a:t>by platform languages, e.g., communication, performance (MARTE) </a:t>
            </a:r>
          </a:p>
          <a:p>
            <a:pPr>
              <a:buClr>
                <a:srgbClr val="00519E"/>
              </a:buClr>
            </a:pPr>
            <a:r>
              <a:rPr lang="en-US" dirty="0"/>
              <a:t>RQ2: </a:t>
            </a:r>
          </a:p>
          <a:p>
            <a:pPr lvl="1">
              <a:buClr>
                <a:srgbClr val="00519E"/>
              </a:buClr>
            </a:pPr>
            <a:r>
              <a:rPr lang="en-US" dirty="0"/>
              <a:t>Concepts of the platforms align with object-oriented concepts and UML CD</a:t>
            </a:r>
          </a:p>
          <a:p>
            <a:pPr lvl="1">
              <a:buClr>
                <a:srgbClr val="00519E"/>
              </a:buClr>
            </a:pPr>
            <a:r>
              <a:rPr lang="en-US" dirty="0"/>
              <a:t>Extend them with domain-specific concepts, e.g., units, time-series</a:t>
            </a:r>
          </a:p>
          <a:p>
            <a:pPr>
              <a:buClr>
                <a:srgbClr val="00519E"/>
              </a:buClr>
            </a:pPr>
            <a:r>
              <a:rPr lang="en-US" dirty="0"/>
              <a:t>RQ3:</a:t>
            </a:r>
            <a:r>
              <a:rPr lang="en-US" b="1" dirty="0"/>
              <a:t> </a:t>
            </a:r>
            <a:r>
              <a:rPr lang="en-US" dirty="0"/>
              <a:t>Using UML CD as a pivot, together with an UML profile enables portability (with limitations)</a:t>
            </a:r>
            <a:endParaRPr lang="en-US" b="1" dirty="0"/>
          </a:p>
          <a:p>
            <a:pPr>
              <a:buClr>
                <a:srgbClr val="00519E"/>
              </a:buClr>
            </a:pPr>
            <a:endParaRPr lang="en-US" dirty="0"/>
          </a:p>
          <a:p>
            <a:pPr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Outlook: </a:t>
            </a:r>
          </a:p>
          <a:p>
            <a:pPr lvl="1"/>
            <a:r>
              <a:rPr lang="en-US" dirty="0"/>
              <a:t>Explore other DT platforms and </a:t>
            </a:r>
            <a:r>
              <a:rPr lang="en-US" dirty="0">
                <a:solidFill>
                  <a:srgbClr val="00519E"/>
                </a:solidFill>
              </a:rPr>
              <a:t>derive a pivot DT DSL </a:t>
            </a:r>
            <a:r>
              <a:rPr lang="en-US" dirty="0"/>
              <a:t>for their platform independent description</a:t>
            </a:r>
          </a:p>
          <a:p>
            <a:pPr lvl="1"/>
            <a:r>
              <a:rPr lang="en-US" dirty="0">
                <a:solidFill>
                  <a:srgbClr val="00519E"/>
                </a:solidFill>
              </a:rPr>
              <a:t>Design a language family </a:t>
            </a:r>
            <a:r>
              <a:rPr lang="en-US" dirty="0"/>
              <a:t>(product line) for describing further aspects of digital twins</a:t>
            </a:r>
          </a:p>
          <a:p>
            <a:pPr lvl="1"/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A2F5F8A-7A0C-16BF-486C-42BBC4FE40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8B713-63F5-4C5B-970B-2127CCBF4EB0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737A411-A9BD-E261-A3E2-709F74406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F4CE408-BC37-AAF2-8265-A777E015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8BE6B5E-40BD-163B-D9D1-016A85037D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/>
              <a:t>Old Wine in New Bottles?</a:t>
            </a:r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6201CA2-D048-2646-6750-52D2D9E068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8924179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BB176207-228F-41BC-99E0-7A0DB2BBCC8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/>
          <a:stretch>
            <a:fillRect/>
          </a:stretch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7AC7CA-F867-4B40-8BA9-BE5D27CBB4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Jérôme Pfeiffer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7B6138-D023-4DAD-A83E-27EB6D38721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94500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D7F390-6ABE-4864-90F9-31D71696AD8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jerome.pfeiffer@isw.uni-stuttgart.d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3411C52-FD64-42FC-8B5F-11A7A3793E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Research Assistant</a:t>
            </a:r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B006FCB-98CB-4752-800F-F967CFBF99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3109" y="4186592"/>
            <a:ext cx="1118833" cy="1118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1476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4CB8A27-1041-D609-DFA9-BE26C65280AB}"/>
              </a:ext>
            </a:extLst>
          </p:cNvPr>
          <p:cNvGrpSpPr/>
          <p:nvPr/>
        </p:nvGrpSpPr>
        <p:grpSpPr>
          <a:xfrm>
            <a:off x="5162456" y="2981339"/>
            <a:ext cx="3219610" cy="865659"/>
            <a:chOff x="7350533" y="3200084"/>
            <a:chExt cx="3219610" cy="865659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8C0465AB-961F-B450-4F67-9F5FE3ADE9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00677" y="3200084"/>
              <a:ext cx="865659" cy="865659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94CEE1CF-1527-0A34-12AE-DE0F4ECB6C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350533" y="3280836"/>
              <a:ext cx="1650144" cy="644588"/>
            </a:xfrm>
            <a:prstGeom prst="rect">
              <a:avLst/>
            </a:prstGeom>
          </p:spPr>
        </p:pic>
        <p:pic>
          <p:nvPicPr>
            <p:cNvPr id="9" name="Grafik 8" descr="Ein Bild, das Text, Geschirr enthält.&#10;&#10;Automatisch generierte Beschreibung">
              <a:extLst>
                <a:ext uri="{FF2B5EF4-FFF2-40B4-BE49-F238E27FC236}">
                  <a16:creationId xmlns:a16="http://schemas.microsoft.com/office/drawing/2014/main" id="{C291EC31-63A8-0772-02A1-683EE0F16C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031788" y="3522930"/>
              <a:ext cx="538355" cy="322340"/>
            </a:xfrm>
            <a:prstGeom prst="rect">
              <a:avLst/>
            </a:prstGeom>
          </p:spPr>
        </p:pic>
      </p:grp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1BD18D6-696D-420E-9FE0-A63DFC17F7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598400"/>
            <a:ext cx="8207375" cy="1542364"/>
          </a:xfrm>
        </p:spPr>
        <p:txBody>
          <a:bodyPr/>
          <a:lstStyle/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Digital Twins (DTs) monitor and optimize cyber-physical systems (CPS)</a:t>
            </a:r>
          </a:p>
          <a:p>
            <a:pPr>
              <a:lnSpc>
                <a:spcPct val="100000"/>
              </a:lnSpc>
              <a:buClr>
                <a:srgbClr val="00519E"/>
              </a:buClr>
            </a:pPr>
            <a:r>
              <a:rPr lang="en-US" dirty="0">
                <a:sym typeface="Wingdings" panose="05000000000000000000" pitchFamily="2" charset="2"/>
              </a:rPr>
              <a:t>Developing DTs requires collaboration between software experts and CPS experts</a:t>
            </a:r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519E"/>
                </a:solidFill>
                <a:sym typeface="Wingdings" panose="05000000000000000000" pitchFamily="2" charset="2"/>
              </a:rPr>
              <a:t>DT Platforms provide dedicated modeling languages to facilitate DT engineering</a:t>
            </a:r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  <a:sym typeface="Wingdings" panose="05000000000000000000" pitchFamily="2" charset="2"/>
              </a:rPr>
              <a:t>But:</a:t>
            </a:r>
            <a:r>
              <a:rPr lang="en-US" b="1" dirty="0">
                <a:solidFill>
                  <a:srgbClr val="00519E"/>
                </a:solidFill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519E"/>
                </a:solidFill>
                <a:sym typeface="Wingdings" panose="05000000000000000000" pitchFamily="2" charset="2"/>
              </a:rPr>
              <a:t>New concepts? </a:t>
            </a:r>
            <a:r>
              <a:rPr lang="en-US" dirty="0">
                <a:sym typeface="Wingdings" panose="05000000000000000000" pitchFamily="2" charset="2"/>
              </a:rPr>
              <a:t>Or existing concepts (old wine) wrapped in new textual syntaxes (new bottles)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E4FAEBE-EE29-41FB-89A2-C63EAE1663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3F76D-FDF3-435D-90C8-3D18950BE9AA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8F1D609-07A4-4637-A50A-213DB0659D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deling Capabilities of Digital Twin Platforms</a:t>
            </a:r>
            <a:r>
              <a:rPr lang="de-DE" dirty="0"/>
              <a:t> | Jérôme Pfeiffer | jerome.pfeiffer@isw.uni-stuttgart.de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456DA82-A6F6-4621-8617-095CB62C3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B4820D6-ADFE-4C24-8268-22077A9D7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0B65C4B-EEFC-4E43-8E74-D42C38D52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</a:t>
            </a:r>
          </a:p>
        </p:txBody>
      </p:sp>
      <p:pic>
        <p:nvPicPr>
          <p:cNvPr id="18" name="Grafik 17" descr="Ein Bild, das Brot enthält.&#10;&#10;Automatisch generierte Beschreibung">
            <a:extLst>
              <a:ext uri="{FF2B5EF4-FFF2-40B4-BE49-F238E27FC236}">
                <a16:creationId xmlns:a16="http://schemas.microsoft.com/office/drawing/2014/main" id="{FB0D87D1-F631-D12D-A40D-9A0E50A291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7250" y="3672430"/>
            <a:ext cx="2076155" cy="1384103"/>
          </a:xfrm>
          <a:prstGeom prst="rect">
            <a:avLst/>
          </a:prstGeom>
        </p:spPr>
      </p:pic>
      <p:pic>
        <p:nvPicPr>
          <p:cNvPr id="22" name="Grafik 21" descr="Ein Bild, das schwarz enthält.&#10;&#10;Automatisch generierte Beschreibung">
            <a:extLst>
              <a:ext uri="{FF2B5EF4-FFF2-40B4-BE49-F238E27FC236}">
                <a16:creationId xmlns:a16="http://schemas.microsoft.com/office/drawing/2014/main" id="{019511ED-13B9-9846-0845-40CB044FEC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98241" y="3668397"/>
            <a:ext cx="1845470" cy="1384102"/>
          </a:xfrm>
          <a:prstGeom prst="rect">
            <a:avLst/>
          </a:prstGeom>
        </p:spPr>
      </p:pic>
      <p:sp>
        <p:nvSpPr>
          <p:cNvPr id="23" name="Pfeil: nach rechts 22">
            <a:extLst>
              <a:ext uri="{FF2B5EF4-FFF2-40B4-BE49-F238E27FC236}">
                <a16:creationId xmlns:a16="http://schemas.microsoft.com/office/drawing/2014/main" id="{A301ADAD-63A6-3FB4-FC78-E66F902AC267}"/>
              </a:ext>
            </a:extLst>
          </p:cNvPr>
          <p:cNvSpPr/>
          <p:nvPr/>
        </p:nvSpPr>
        <p:spPr>
          <a:xfrm>
            <a:off x="3289960" y="4183485"/>
            <a:ext cx="2475046" cy="353924"/>
          </a:xfrm>
          <a:prstGeom prst="rightArrow">
            <a:avLst/>
          </a:prstGeom>
          <a:solidFill>
            <a:srgbClr val="00519E"/>
          </a:solidFill>
          <a:ln>
            <a:solidFill>
              <a:prstClr val="blac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4300" rIns="0" bIns="1143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AutoNum type="arabicPeriod"/>
            </a:pPr>
            <a:endParaRPr lang="en-US" sz="2400">
              <a:solidFill>
                <a:schemeClr val="tx1">
                  <a:lumMod val="100000"/>
                </a:schemeClr>
              </a:solidFill>
              <a:latin typeface="Arial (Headings)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556C575E-2250-86B9-F433-01B57F8023E4}"/>
              </a:ext>
            </a:extLst>
          </p:cNvPr>
          <p:cNvSpPr txBox="1"/>
          <p:nvPr/>
        </p:nvSpPr>
        <p:spPr>
          <a:xfrm>
            <a:off x="4343400" y="3871433"/>
            <a:ext cx="457200" cy="282267"/>
          </a:xfrm>
          <a:prstGeom prst="rect">
            <a:avLst/>
          </a:prstGeom>
        </p:spPr>
        <p:txBody>
          <a:bodyPr vert="horz" wrap="square" lIns="0" tIns="0" rIns="0" bIns="0" spcCol="288000" rtlCol="0">
            <a:noAutofit/>
          </a:bodyPr>
          <a:lstStyle/>
          <a:p>
            <a:pPr algn="ctr"/>
            <a:r>
              <a:rPr lang="en-US" sz="2400" dirty="0"/>
              <a:t>?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5DC9A806-8354-3C22-7A04-B5000312B7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71994" y="3146086"/>
            <a:ext cx="728274" cy="529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4699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819446-88C9-C602-616A-A4BC9AC4AC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2799" y="2250000"/>
            <a:ext cx="6306864" cy="900000"/>
          </a:xfrm>
        </p:spPr>
        <p:txBody>
          <a:bodyPr/>
          <a:lstStyle/>
          <a:p>
            <a:r>
              <a:rPr lang="en-US" sz="1400" dirty="0">
                <a:sym typeface="Wingdings" panose="05000000000000000000" pitchFamily="2" charset="2"/>
              </a:rPr>
              <a:t>RQ1: What are the conceptual </a:t>
            </a:r>
            <a:r>
              <a:rPr lang="en-US" sz="1400" dirty="0">
                <a:solidFill>
                  <a:srgbClr val="00B0F0"/>
                </a:solidFill>
                <a:sym typeface="Wingdings" panose="05000000000000000000" pitchFamily="2" charset="2"/>
              </a:rPr>
              <a:t>metamodels</a:t>
            </a:r>
            <a:r>
              <a:rPr lang="en-US" sz="1400" dirty="0">
                <a:sym typeface="Wingdings" panose="05000000000000000000" pitchFamily="2" charset="2"/>
              </a:rPr>
              <a:t> </a:t>
            </a:r>
            <a:r>
              <a:rPr lang="en-US" sz="1400" dirty="0">
                <a:solidFill>
                  <a:schemeClr val="accent1"/>
                </a:solidFill>
                <a:sym typeface="Wingdings" panose="05000000000000000000" pitchFamily="2" charset="2"/>
              </a:rPr>
              <a:t>used</a:t>
            </a:r>
            <a:r>
              <a:rPr lang="en-US" sz="1400" dirty="0">
                <a:sym typeface="Wingdings" panose="05000000000000000000" pitchFamily="2" charset="2"/>
              </a:rPr>
              <a:t> by existing DT platforms?</a:t>
            </a:r>
            <a:br>
              <a:rPr lang="en-US" sz="1400" dirty="0">
                <a:sym typeface="Wingdings" panose="05000000000000000000" pitchFamily="2" charset="2"/>
              </a:rPr>
            </a:br>
            <a:br>
              <a:rPr lang="en-US" sz="1400" dirty="0">
                <a:sym typeface="Wingdings" panose="05000000000000000000" pitchFamily="2" charset="2"/>
              </a:rPr>
            </a:br>
            <a:r>
              <a:rPr lang="en-US" sz="1400" dirty="0">
                <a:sym typeface="Wingdings" panose="05000000000000000000" pitchFamily="2" charset="2"/>
              </a:rPr>
              <a:t>RQ2: How do they </a:t>
            </a:r>
            <a:r>
              <a:rPr lang="en-US" sz="1400" dirty="0">
                <a:solidFill>
                  <a:schemeClr val="accent1"/>
                </a:solidFill>
                <a:sym typeface="Wingdings" panose="05000000000000000000" pitchFamily="2" charset="2"/>
              </a:rPr>
              <a:t>relate to existing modeling concepts </a:t>
            </a:r>
            <a:r>
              <a:rPr lang="en-US" sz="1400" dirty="0">
                <a:sym typeface="Wingdings" panose="05000000000000000000" pitchFamily="2" charset="2"/>
              </a:rPr>
              <a:t>and standards?</a:t>
            </a:r>
            <a:br>
              <a:rPr lang="en-US" sz="1400" dirty="0">
                <a:sym typeface="Wingdings" panose="05000000000000000000" pitchFamily="2" charset="2"/>
              </a:rPr>
            </a:br>
            <a:br>
              <a:rPr lang="en-US" sz="1400" dirty="0">
                <a:sym typeface="Wingdings" panose="05000000000000000000" pitchFamily="2" charset="2"/>
              </a:rPr>
            </a:br>
            <a:r>
              <a:rPr lang="en-US" sz="1400" dirty="0">
                <a:sym typeface="Wingdings" panose="05000000000000000000" pitchFamily="2" charset="2"/>
              </a:rPr>
              <a:t>RQ3: How can existing modeling concepts </a:t>
            </a:r>
            <a:r>
              <a:rPr lang="en-US" sz="1400" dirty="0">
                <a:solidFill>
                  <a:schemeClr val="accent1"/>
                </a:solidFill>
                <a:sym typeface="Wingdings" panose="05000000000000000000" pitchFamily="2" charset="2"/>
              </a:rPr>
              <a:t>enable</a:t>
            </a:r>
            <a:r>
              <a:rPr lang="en-US" sz="1400" dirty="0">
                <a:sym typeface="Wingdings" panose="05000000000000000000" pitchFamily="2" charset="2"/>
              </a:rPr>
              <a:t> </a:t>
            </a:r>
            <a:r>
              <a:rPr lang="en-US" sz="1400" dirty="0">
                <a:solidFill>
                  <a:schemeClr val="accent1"/>
                </a:solidFill>
                <a:sym typeface="Wingdings" panose="05000000000000000000" pitchFamily="2" charset="2"/>
              </a:rPr>
              <a:t>portability</a:t>
            </a:r>
            <a:r>
              <a:rPr lang="en-US" sz="1400" dirty="0">
                <a:sym typeface="Wingdings" panose="05000000000000000000" pitchFamily="2" charset="2"/>
              </a:rPr>
              <a:t>?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2990B8-1CBB-8139-D875-4B30C87283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search Questions</a:t>
            </a:r>
          </a:p>
        </p:txBody>
      </p:sp>
    </p:spTree>
    <p:extLst>
      <p:ext uri="{BB962C8B-B14F-4D97-AF65-F5344CB8AC3E}">
        <p14:creationId xmlns:p14="http://schemas.microsoft.com/office/powerpoint/2010/main" val="27778193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7654CF7-B328-4D11-B5A5-1D9C7654BD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5" y="1598400"/>
            <a:ext cx="4450570" cy="3492500"/>
          </a:xfrm>
        </p:spPr>
        <p:txBody>
          <a:bodyPr/>
          <a:lstStyle/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Definition: A digital twin is a </a:t>
            </a:r>
            <a:r>
              <a:rPr lang="en-US" sz="1400" dirty="0">
                <a:solidFill>
                  <a:srgbClr val="00519E"/>
                </a:solidFill>
              </a:rPr>
              <a:t>digital model </a:t>
            </a:r>
            <a:r>
              <a:rPr lang="en-US" sz="1400" dirty="0"/>
              <a:t>of real-world things, places, business processes, and people</a:t>
            </a:r>
            <a:endParaRPr lang="en-US" dirty="0"/>
          </a:p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JSON-based </a:t>
            </a:r>
            <a:r>
              <a:rPr lang="en-US" dirty="0">
                <a:solidFill>
                  <a:srgbClr val="00519E"/>
                </a:solidFill>
              </a:rPr>
              <a:t>Digital Twin Definition Language</a:t>
            </a:r>
            <a:endParaRPr lang="en-US" dirty="0"/>
          </a:p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Models 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Contextualize raw data 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Act as contract to other services</a:t>
            </a:r>
          </a:p>
          <a:p>
            <a:pPr>
              <a:lnSpc>
                <a:spcPct val="150000"/>
              </a:lnSpc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 Queries for analysis on received data</a:t>
            </a:r>
          </a:p>
          <a:p>
            <a:pPr>
              <a:lnSpc>
                <a:spcPct val="150000"/>
              </a:lnSpc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 Visualiz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982987-054D-49A9-BAF6-3C32545C15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55F7A-8788-4798-9F89-BCB800974363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9215D94-8452-4B11-88F2-1A6A42D87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94C3BE6-44C1-4C00-BEB1-BA9CC9263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38EDABF-44BB-4F60-9904-9FCDB6D62C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icrosoft Azure Digital Twin - A digital model of real-world things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CF932E6-2AC7-4273-A8B3-75A9E08378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Twin Platforms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E8D21578-E70E-4129-A7A7-6CF95DCC1F63}"/>
              </a:ext>
            </a:extLst>
          </p:cNvPr>
          <p:cNvGrpSpPr/>
          <p:nvPr/>
        </p:nvGrpSpPr>
        <p:grpSpPr>
          <a:xfrm>
            <a:off x="5161773" y="1813040"/>
            <a:ext cx="3513912" cy="3166897"/>
            <a:chOff x="5141495" y="963138"/>
            <a:chExt cx="3513912" cy="3166897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2A441F85-32B1-46FA-BB1E-683EE4AEEB17}"/>
                </a:ext>
              </a:extLst>
            </p:cNvPr>
            <p:cNvGrpSpPr/>
            <p:nvPr/>
          </p:nvGrpSpPr>
          <p:grpSpPr>
            <a:xfrm>
              <a:off x="5141495" y="963138"/>
              <a:ext cx="3328737" cy="3016214"/>
              <a:chOff x="5141495" y="963138"/>
              <a:chExt cx="3328737" cy="3016214"/>
            </a:xfrm>
          </p:grpSpPr>
          <p:sp>
            <p:nvSpPr>
              <p:cNvPr id="13" name="Rectangle 2">
                <a:extLst>
                  <a:ext uri="{FF2B5EF4-FFF2-40B4-BE49-F238E27FC236}">
                    <a16:creationId xmlns:a16="http://schemas.microsoft.com/office/drawing/2014/main" id="{F86E568A-F275-41BF-8F3D-E7E30081E8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754" y="963138"/>
                <a:ext cx="3099478" cy="301621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{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@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id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"dtmi:com:example:Building;1"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@type": "Interface",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displayName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"Building",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contents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[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{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@type": "Property"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 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name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name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,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schema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string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writable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true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}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{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@type": 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Relationship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 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name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contains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 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target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"dtmi:com:example:Room;1"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}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]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@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context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"dtmi:dtdl:context;2"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}</a:t>
                </a:r>
                <a:r>
                  <a:rPr kumimoji="0" lang="de-DE" altLang="de-DE" sz="6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 </a:t>
                </a:r>
                <a:endParaRPr kumimoji="0" lang="de-DE" altLang="de-DE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nsolas" panose="020B0609020204030204" pitchFamily="49" charset="0"/>
                </a:endParaRPr>
              </a:p>
            </p:txBody>
          </p:sp>
          <p:sp>
            <p:nvSpPr>
              <p:cNvPr id="14" name="Rectangle 2">
                <a:extLst>
                  <a:ext uri="{FF2B5EF4-FFF2-40B4-BE49-F238E27FC236}">
                    <a16:creationId xmlns:a16="http://schemas.microsoft.com/office/drawing/2014/main" id="{A88079C8-9250-4920-8645-F012588181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41495" y="963142"/>
                <a:ext cx="229260" cy="301621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36000" tIns="45720" rIns="3600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1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2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3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4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5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6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7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8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9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10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11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12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13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14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15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16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17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18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19</a:t>
                </a:r>
                <a:endParaRPr kumimoji="0" lang="de-DE" altLang="de-DE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nsolas" panose="020B0609020204030204" pitchFamily="49" charset="0"/>
                </a:endParaRPr>
              </a:p>
            </p:txBody>
          </p:sp>
        </p:grp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54F5B8A9-4A31-4D62-BDA4-C3D05DFB75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942613" y="3417242"/>
              <a:ext cx="712794" cy="712793"/>
            </a:xfrm>
            <a:prstGeom prst="rect">
              <a:avLst/>
            </a:prstGeom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ECE60469-CE0C-4361-B32B-4DA54A021758}"/>
              </a:ext>
            </a:extLst>
          </p:cNvPr>
          <p:cNvSpPr txBox="1"/>
          <p:nvPr/>
        </p:nvSpPr>
        <p:spPr>
          <a:xfrm>
            <a:off x="5161773" y="4941876"/>
            <a:ext cx="3647264" cy="324441"/>
          </a:xfrm>
          <a:prstGeom prst="rect">
            <a:avLst/>
          </a:prstGeom>
        </p:spPr>
        <p:txBody>
          <a:bodyPr vert="horz" wrap="square" lIns="0" tIns="0" rIns="0" bIns="0" spcCol="288000" rtlCol="0">
            <a:noAutofit/>
          </a:bodyPr>
          <a:lstStyle/>
          <a:p>
            <a:r>
              <a:rPr lang="en-US" sz="1000" dirty="0">
                <a:solidFill>
                  <a:schemeClr val="bg2"/>
                </a:solidFill>
                <a:hlinkClick r:id="rId4"/>
              </a:rPr>
              <a:t>https://azure.microsoft.com/en-us/services/digital-twins/</a:t>
            </a:r>
            <a:r>
              <a:rPr lang="en-US" sz="1000" dirty="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20" name="AutoShape 40">
            <a:extLst>
              <a:ext uri="{FF2B5EF4-FFF2-40B4-BE49-F238E27FC236}">
                <a16:creationId xmlns:a16="http://schemas.microsoft.com/office/drawing/2014/main" id="{064F780A-8E38-415C-BE5F-BCBC1458841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030365" y="1494705"/>
            <a:ext cx="460145" cy="276225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000" dirty="0">
                <a:latin typeface="Arial" panose="020B0604020202020204" pitchFamily="34" charset="0"/>
                <a:cs typeface="Arial" panose="020B0604020202020204" pitchFamily="34" charset="0"/>
              </a:rPr>
              <a:t>DTDL</a:t>
            </a:r>
            <a:endParaRPr lang="en-US" altLang="de-DE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69698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F9ACA97-3391-D515-C2E3-574CEF07D8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5" y="1598400"/>
            <a:ext cx="4303318" cy="3492500"/>
          </a:xfrm>
        </p:spPr>
        <p:txBody>
          <a:bodyPr/>
          <a:lstStyle/>
          <a:p>
            <a:pPr>
              <a:buClr>
                <a:srgbClr val="00519E"/>
              </a:buClr>
            </a:pPr>
            <a:r>
              <a:rPr lang="en-US" dirty="0"/>
              <a:t>Definition: A digital twin</a:t>
            </a:r>
          </a:p>
          <a:p>
            <a:pPr lvl="1"/>
            <a:r>
              <a:rPr lang="en-US" dirty="0">
                <a:solidFill>
                  <a:srgbClr val="00519E"/>
                </a:solidFill>
              </a:rPr>
              <a:t>mirrors</a:t>
            </a:r>
            <a:r>
              <a:rPr lang="en-US" dirty="0"/>
              <a:t> physical asserts/devices</a:t>
            </a:r>
          </a:p>
          <a:p>
            <a:pPr lvl="1"/>
            <a:r>
              <a:rPr lang="en-US" dirty="0">
                <a:solidFill>
                  <a:srgbClr val="00519E"/>
                </a:solidFill>
              </a:rPr>
              <a:t>provides</a:t>
            </a:r>
            <a:r>
              <a:rPr lang="en-US" dirty="0"/>
              <a:t> various aspects + </a:t>
            </a:r>
            <a:r>
              <a:rPr lang="en-US" dirty="0">
                <a:solidFill>
                  <a:srgbClr val="00519E"/>
                </a:solidFill>
              </a:rPr>
              <a:t>services</a:t>
            </a:r>
            <a:r>
              <a:rPr lang="en-US" dirty="0"/>
              <a:t> around devices</a:t>
            </a:r>
          </a:p>
          <a:p>
            <a:pPr lvl="1"/>
            <a:r>
              <a:rPr lang="en-US" dirty="0"/>
              <a:t>keeps real and digital world in </a:t>
            </a:r>
            <a:r>
              <a:rPr lang="en-US" dirty="0">
                <a:solidFill>
                  <a:srgbClr val="00519E"/>
                </a:solidFill>
              </a:rPr>
              <a:t>sync</a:t>
            </a:r>
          </a:p>
          <a:p>
            <a:r>
              <a:rPr lang="en-US" dirty="0"/>
              <a:t>Modeling language: </a:t>
            </a:r>
            <a:r>
              <a:rPr lang="en-US" dirty="0" err="1"/>
              <a:t>VortoLang</a:t>
            </a:r>
            <a:endParaRPr lang="en-US" dirty="0"/>
          </a:p>
          <a:p>
            <a:pPr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 Code </a:t>
            </a:r>
            <a:r>
              <a:rPr lang="en-US" dirty="0">
                <a:solidFill>
                  <a:srgbClr val="00519E"/>
                </a:solidFill>
              </a:rPr>
              <a:t>generators translate models into application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C964288-BCBC-FB1C-AB06-46AA00FD9D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D5E2B1-DDA9-4EB7-8980-2C2C3A4A6BB6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92ACE3-3190-D88E-F22C-90D4F1BC77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8A56D9-BA0F-02E0-E8D7-B7E3F4044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F812DA2-B3A8-51F4-1F85-E8AA700229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clipse Foundation – Digital Twins mirror the physical world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40F5F90-E2E8-4416-CE6E-F7D414A2DE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Twin Platforms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F6724033-A4BA-8FF5-988D-275E1B3E0E93}"/>
              </a:ext>
            </a:extLst>
          </p:cNvPr>
          <p:cNvGrpSpPr/>
          <p:nvPr/>
        </p:nvGrpSpPr>
        <p:grpSpPr>
          <a:xfrm>
            <a:off x="5036014" y="3481258"/>
            <a:ext cx="3383256" cy="1201007"/>
            <a:chOff x="4356459" y="947071"/>
            <a:chExt cx="3396550" cy="1201007"/>
          </a:xfrm>
        </p:grpSpPr>
        <p:sp>
          <p:nvSpPr>
            <p:cNvPr id="20" name="Rectangle 2">
              <a:extLst>
                <a:ext uri="{FF2B5EF4-FFF2-40B4-BE49-F238E27FC236}">
                  <a16:creationId xmlns:a16="http://schemas.microsoft.com/office/drawing/2014/main" id="{289B22D3-38B2-197D-A415-4DA53ADEF8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6380" y="947749"/>
              <a:ext cx="3096629" cy="120032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functionblock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Battery</a:t>
              </a: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{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kumimoji="0" lang="de-DE" altLang="de-DE" sz="12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status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{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  </a:t>
              </a:r>
              <a:r>
                <a:rPr kumimoji="0" lang="de-DE" altLang="de-DE" sz="12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mandatory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remainingCapacity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b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</a:b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    </a:t>
              </a:r>
              <a:r>
                <a:rPr kumimoji="0" lang="de-DE" altLang="de-DE" sz="12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as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Percentage</a:t>
              </a:r>
              <a:b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</a:b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}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  <a:endParaRPr kumimoji="0" lang="de-DE" altLang="de-DE" sz="2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21" name="Rectangle 2">
              <a:extLst>
                <a:ext uri="{FF2B5EF4-FFF2-40B4-BE49-F238E27FC236}">
                  <a16:creationId xmlns:a16="http://schemas.microsoft.com/office/drawing/2014/main" id="{9CD95384-1AE4-CC4A-36CC-1409A8A578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6459" y="947071"/>
              <a:ext cx="299921" cy="120032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1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2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3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4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5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6</a:t>
              </a: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D27CF125-ABEA-A9DE-A040-9D3F52D99CC5}"/>
              </a:ext>
            </a:extLst>
          </p:cNvPr>
          <p:cNvGrpSpPr/>
          <p:nvPr/>
        </p:nvGrpSpPr>
        <p:grpSpPr>
          <a:xfrm>
            <a:off x="5036014" y="2207700"/>
            <a:ext cx="3383256" cy="1201007"/>
            <a:chOff x="4356459" y="947071"/>
            <a:chExt cx="3396550" cy="1201007"/>
          </a:xfrm>
        </p:grpSpPr>
        <p:sp>
          <p:nvSpPr>
            <p:cNvPr id="27" name="Rectangle 2">
              <a:extLst>
                <a:ext uri="{FF2B5EF4-FFF2-40B4-BE49-F238E27FC236}">
                  <a16:creationId xmlns:a16="http://schemas.microsoft.com/office/drawing/2014/main" id="{B84BC580-614D-FC2B-34FF-2E200F23D1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6380" y="947749"/>
              <a:ext cx="3096629" cy="120032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infomodel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ECar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{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kumimoji="0" lang="de-DE" altLang="de-DE" sz="12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functionblock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{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  </a:t>
              </a:r>
              <a:r>
                <a:rPr lang="de-DE" altLang="de-DE" sz="12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battery</a:t>
              </a: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DE" altLang="de-DE" sz="1200" b="1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s</a:t>
              </a: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DE" altLang="de-DE" sz="12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Battery</a:t>
              </a:r>
              <a:endParaRPr lang="de-DE" altLang="de-DE" sz="12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  </a:t>
              </a: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//…</a:t>
              </a:r>
              <a:endParaRPr kumimoji="0" lang="de-DE" altLang="de-DE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}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  <a:endParaRPr kumimoji="0" lang="de-DE" altLang="de-DE" sz="2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28" name="Rectangle 2">
              <a:extLst>
                <a:ext uri="{FF2B5EF4-FFF2-40B4-BE49-F238E27FC236}">
                  <a16:creationId xmlns:a16="http://schemas.microsoft.com/office/drawing/2014/main" id="{3F438312-128F-6DAA-33A7-72914FF818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6459" y="947071"/>
              <a:ext cx="299921" cy="120032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1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2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3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4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5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6</a:t>
              </a:r>
            </a:p>
          </p:txBody>
        </p:sp>
      </p:grpSp>
      <p:pic>
        <p:nvPicPr>
          <p:cNvPr id="10" name="Grafik 9">
            <a:extLst>
              <a:ext uri="{FF2B5EF4-FFF2-40B4-BE49-F238E27FC236}">
                <a16:creationId xmlns:a16="http://schemas.microsoft.com/office/drawing/2014/main" id="{90372521-B698-3E5A-B06E-6CB2C77B59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01232" y="4414807"/>
            <a:ext cx="874453" cy="874453"/>
          </a:xfrm>
          <a:prstGeom prst="rect">
            <a:avLst/>
          </a:prstGeom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82522459-A4C8-8DC2-5BF1-C15EAF6845E1}"/>
              </a:ext>
            </a:extLst>
          </p:cNvPr>
          <p:cNvGrpSpPr/>
          <p:nvPr/>
        </p:nvGrpSpPr>
        <p:grpSpPr>
          <a:xfrm>
            <a:off x="490925" y="3776947"/>
            <a:ext cx="4303633" cy="1001668"/>
            <a:chOff x="-419664" y="3592814"/>
            <a:chExt cx="5172123" cy="1203809"/>
          </a:xfrm>
        </p:grpSpPr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252EA55E-2994-3FF2-8AC7-951802FF7E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6124" t="51709" r="579" b="1417"/>
            <a:stretch/>
          </p:blipFill>
          <p:spPr>
            <a:xfrm>
              <a:off x="953357" y="3592814"/>
              <a:ext cx="3799102" cy="1203808"/>
            </a:xfrm>
            <a:prstGeom prst="rect">
              <a:avLst/>
            </a:prstGeom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AE866CD9-C54E-B1BE-6A06-2398FF98CD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84775" b="76620"/>
            <a:stretch/>
          </p:blipFill>
          <p:spPr>
            <a:xfrm>
              <a:off x="-419664" y="3592815"/>
              <a:ext cx="1392195" cy="1203808"/>
            </a:xfrm>
            <a:prstGeom prst="rect">
              <a:avLst/>
            </a:prstGeom>
          </p:spPr>
        </p:pic>
      </p:grpSp>
      <p:sp>
        <p:nvSpPr>
          <p:cNvPr id="34" name="Textfeld 33">
            <a:extLst>
              <a:ext uri="{FF2B5EF4-FFF2-40B4-BE49-F238E27FC236}">
                <a16:creationId xmlns:a16="http://schemas.microsoft.com/office/drawing/2014/main" id="{67193B70-69FC-798B-48A7-BED0B01149DD}"/>
              </a:ext>
            </a:extLst>
          </p:cNvPr>
          <p:cNvSpPr txBox="1"/>
          <p:nvPr/>
        </p:nvSpPr>
        <p:spPr>
          <a:xfrm>
            <a:off x="464014" y="4778615"/>
            <a:ext cx="430331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accent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eclipse/vorto/blob/master/docs/tutorials/create_webapp_dashboard.md</a:t>
            </a:r>
            <a:r>
              <a:rPr lang="en-US" sz="800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C64FD28B-3908-0BB7-1216-4F6476A16706}"/>
              </a:ext>
            </a:extLst>
          </p:cNvPr>
          <p:cNvSpPr txBox="1"/>
          <p:nvPr/>
        </p:nvSpPr>
        <p:spPr>
          <a:xfrm>
            <a:off x="464014" y="4939324"/>
            <a:ext cx="4572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5"/>
              </a:rPr>
              <a:t>https://www.eclipse.org/vorto/</a:t>
            </a:r>
            <a:r>
              <a:rPr lang="en-US" sz="800" dirty="0"/>
              <a:t> </a:t>
            </a:r>
          </a:p>
        </p:txBody>
      </p:sp>
      <p:sp>
        <p:nvSpPr>
          <p:cNvPr id="22" name="AutoShape 40">
            <a:extLst>
              <a:ext uri="{FF2B5EF4-FFF2-40B4-BE49-F238E27FC236}">
                <a16:creationId xmlns:a16="http://schemas.microsoft.com/office/drawing/2014/main" id="{79C81F16-D26D-8320-D921-0830A87CAAE4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7959125" y="1858924"/>
            <a:ext cx="460145" cy="276225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000" dirty="0">
                <a:latin typeface="Arial" panose="020B0604020202020204" pitchFamily="34" charset="0"/>
                <a:cs typeface="Arial" panose="020B0604020202020204" pitchFamily="34" charset="0"/>
              </a:rPr>
              <a:t>VL</a:t>
            </a:r>
            <a:endParaRPr lang="en-US" altLang="de-DE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15697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F9ACA97-3391-D515-C2E3-574CEF07D8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5" y="1598400"/>
            <a:ext cx="4286135" cy="3492500"/>
          </a:xfrm>
        </p:spPr>
        <p:txBody>
          <a:bodyPr/>
          <a:lstStyle/>
          <a:p>
            <a:pPr>
              <a:lnSpc>
                <a:spcPct val="100000"/>
              </a:lnSpc>
              <a:buClr>
                <a:srgbClr val="00519E"/>
              </a:buClr>
            </a:pPr>
            <a:r>
              <a:rPr lang="en-US" dirty="0"/>
              <a:t>Definition: </a:t>
            </a:r>
          </a:p>
          <a:p>
            <a:pPr lvl="1">
              <a:lnSpc>
                <a:spcPct val="100000"/>
              </a:lnSpc>
              <a:buClr>
                <a:srgbClr val="00519E"/>
              </a:buClr>
            </a:pPr>
            <a:r>
              <a:rPr lang="en-US" dirty="0"/>
              <a:t>A digital twin is a live digital representation</a:t>
            </a:r>
          </a:p>
          <a:p>
            <a:pPr lvl="1">
              <a:lnSpc>
                <a:spcPct val="100000"/>
              </a:lnSpc>
              <a:buClr>
                <a:srgbClr val="00519E"/>
              </a:buClr>
            </a:pPr>
            <a:r>
              <a:rPr lang="en-US" dirty="0"/>
              <a:t>Dynamically updated with data to mimic the structure of the system</a:t>
            </a:r>
          </a:p>
          <a:p>
            <a:pPr marL="176213" lvl="1" indent="0">
              <a:lnSpc>
                <a:spcPct val="100000"/>
              </a:lnSpc>
              <a:buClr>
                <a:srgbClr val="00519E"/>
              </a:buClr>
              <a:buNone/>
            </a:pPr>
            <a:endParaRPr lang="en-US" dirty="0"/>
          </a:p>
          <a:p>
            <a:pPr>
              <a:lnSpc>
                <a:spcPct val="100000"/>
              </a:lnSpc>
              <a:buClr>
                <a:srgbClr val="00519E"/>
              </a:buClr>
            </a:pPr>
            <a:r>
              <a:rPr lang="en-US" dirty="0"/>
              <a:t>IoT </a:t>
            </a:r>
            <a:r>
              <a:rPr lang="en-US" dirty="0" err="1"/>
              <a:t>TwinMaker</a:t>
            </a:r>
            <a:r>
              <a:rPr lang="en-US" dirty="0"/>
              <a:t> is an AWS service</a:t>
            </a:r>
          </a:p>
          <a:p>
            <a:pPr>
              <a:lnSpc>
                <a:spcPct val="100000"/>
              </a:lnSpc>
              <a:buClr>
                <a:srgbClr val="00519E"/>
              </a:buClr>
            </a:pPr>
            <a:r>
              <a:rPr lang="en-US" dirty="0"/>
              <a:t>Provides API to create digital twin models via JSON</a:t>
            </a:r>
          </a:p>
          <a:p>
            <a:pPr>
              <a:lnSpc>
                <a:spcPct val="1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Digital twin consist of components representing structural elements of the digital twin</a:t>
            </a:r>
            <a:endParaRPr lang="en-US" dirty="0"/>
          </a:p>
          <a:p>
            <a:pPr>
              <a:lnSpc>
                <a:spcPct val="100000"/>
              </a:lnSpc>
              <a:buClr>
                <a:srgbClr val="00519E"/>
              </a:buClr>
            </a:pPr>
            <a:r>
              <a:rPr lang="en-US" dirty="0"/>
              <a:t>Components and their relationships span a graph</a:t>
            </a:r>
          </a:p>
          <a:p>
            <a:pPr>
              <a:lnSpc>
                <a:spcPct val="100000"/>
              </a:lnSpc>
              <a:buClr>
                <a:srgbClr val="00519E"/>
              </a:buClr>
            </a:pPr>
            <a:endParaRPr lang="en-US" dirty="0"/>
          </a:p>
          <a:p>
            <a:pPr>
              <a:lnSpc>
                <a:spcPct val="100000"/>
              </a:lnSpc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 </a:t>
            </a:r>
            <a:r>
              <a:rPr lang="en-US" dirty="0">
                <a:solidFill>
                  <a:srgbClr val="00519E"/>
                </a:solidFill>
              </a:rPr>
              <a:t>Enables querying and visualiz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C964288-BCBC-FB1C-AB06-46AA00FD9D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F6AC7-A9BF-4477-AECC-4963829EC9F7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92ACE3-3190-D88E-F22C-90D4F1BC77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8A56D9-BA0F-02E0-E8D7-B7E3F4044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F812DA2-B3A8-51F4-1F85-E8AA700229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WS IoT </a:t>
            </a:r>
            <a:r>
              <a:rPr lang="en-US" dirty="0" err="1"/>
              <a:t>TwinMaker</a:t>
            </a:r>
            <a:r>
              <a:rPr lang="en-US" dirty="0"/>
              <a:t> – A dynamically updated digital representation of data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40F5F90-E2E8-4416-CE6E-F7D414A2DE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Twin Platforms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60B41122-5243-4962-9E02-26D1588EA4E1}"/>
              </a:ext>
            </a:extLst>
          </p:cNvPr>
          <p:cNvSpPr txBox="1"/>
          <p:nvPr/>
        </p:nvSpPr>
        <p:spPr>
          <a:xfrm>
            <a:off x="4023280" y="4945597"/>
            <a:ext cx="474210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2"/>
              </a:rPr>
              <a:t>https://docs.aws.amazon.com/iot-twinmaker/latest/guide/twinmaker-component-types-examples.html</a:t>
            </a:r>
            <a:r>
              <a:rPr lang="en-US" sz="800" dirty="0"/>
              <a:t> 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221CD8C-D0F1-C810-5918-45946236A63F}"/>
              </a:ext>
            </a:extLst>
          </p:cNvPr>
          <p:cNvGrpSpPr/>
          <p:nvPr/>
        </p:nvGrpSpPr>
        <p:grpSpPr>
          <a:xfrm>
            <a:off x="4754450" y="1487716"/>
            <a:ext cx="3921235" cy="3460692"/>
            <a:chOff x="4754450" y="1385409"/>
            <a:chExt cx="3921235" cy="3460692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357E8BC6-EF65-BD0F-FAD6-98F02CDB11BD}"/>
                </a:ext>
              </a:extLst>
            </p:cNvPr>
            <p:cNvGrpSpPr/>
            <p:nvPr/>
          </p:nvGrpSpPr>
          <p:grpSpPr>
            <a:xfrm>
              <a:off x="4754450" y="1703744"/>
              <a:ext cx="3921235" cy="3142357"/>
              <a:chOff x="4073789" y="569129"/>
              <a:chExt cx="3936643" cy="3142357"/>
            </a:xfrm>
          </p:grpSpPr>
          <p:sp>
            <p:nvSpPr>
              <p:cNvPr id="23" name="Rectangle 2">
                <a:extLst>
                  <a:ext uri="{FF2B5EF4-FFF2-40B4-BE49-F238E27FC236}">
                    <a16:creationId xmlns:a16="http://schemas.microsoft.com/office/drawing/2014/main" id="{4F5E036B-5001-3C56-FDDF-4FFC460CB1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73710" y="569129"/>
                <a:ext cx="3636722" cy="313932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36000" tIns="0" rIns="3600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{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"</a:t>
                </a:r>
                <a:r>
                  <a:rPr kumimoji="0" lang="de-DE" altLang="de-DE" sz="120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componentTypeId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": "</a:t>
                </a:r>
                <a:r>
                  <a:rPr kumimoji="0" lang="de-DE" altLang="de-DE" sz="120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example.alarm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"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"</a:t>
                </a:r>
                <a:r>
                  <a:rPr kumimoji="0" lang="de-DE" altLang="de-DE" sz="120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workspaceId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": "</a:t>
                </a:r>
                <a:r>
                  <a:rPr kumimoji="0" lang="de-DE" altLang="de-DE" sz="120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MyWorkspace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"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"</a:t>
                </a:r>
                <a:r>
                  <a:rPr kumimoji="0" lang="de-DE" altLang="de-DE" sz="120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isSingleton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": </a:t>
                </a:r>
                <a:r>
                  <a:rPr kumimoji="0" lang="de-DE" altLang="de-DE" sz="120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false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"</a:t>
                </a:r>
                <a:r>
                  <a:rPr kumimoji="0" lang="de-DE" altLang="de-DE" sz="120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propertyDefinitions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": {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  "</a:t>
                </a:r>
                <a:r>
                  <a:rPr kumimoji="0" lang="de-DE" altLang="de-DE" sz="120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alarm_status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": {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    "</a:t>
                </a:r>
                <a:r>
                  <a:rPr kumimoji="0" lang="de-DE" altLang="de-DE" sz="120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dataType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": {</a:t>
                </a:r>
              </a:p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      "type": "STRING"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      "</a:t>
                </a:r>
                <a:r>
                  <a:rPr kumimoji="0" lang="de-DE" altLang="de-DE" sz="120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allowedValues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": [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        {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          "</a:t>
                </a:r>
                <a:r>
                  <a:rPr kumimoji="0" lang="de-DE" altLang="de-DE" sz="120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stringValue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": "ACTIVE"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        },//...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      ]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     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}, //...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  }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}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}</a:t>
                </a:r>
                <a:endParaRPr kumimoji="0" lang="de-DE" altLang="de-DE" sz="28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4" name="Rectangle 2">
                <a:extLst>
                  <a:ext uri="{FF2B5EF4-FFF2-40B4-BE49-F238E27FC236}">
                    <a16:creationId xmlns:a16="http://schemas.microsoft.com/office/drawing/2014/main" id="{1F24ACB1-42C3-2ECA-AA4D-4721E35219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73789" y="572165"/>
                <a:ext cx="299921" cy="313932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36000" tIns="0" rIns="3600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2</a:t>
                </a:r>
              </a:p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3</a:t>
                </a:r>
              </a:p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</a:p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6</a:t>
                </a:r>
              </a:p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7</a:t>
                </a:r>
              </a:p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8</a:t>
                </a:r>
              </a:p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9</a:t>
                </a:r>
              </a:p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10</a:t>
                </a:r>
              </a:p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11</a:t>
                </a:r>
              </a:p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12</a:t>
                </a:r>
              </a:p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13</a:t>
                </a:r>
              </a:p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14</a:t>
                </a:r>
              </a:p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15</a:t>
                </a:r>
              </a:p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16</a:t>
                </a:r>
              </a:p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17</a:t>
                </a:r>
              </a:p>
            </p:txBody>
          </p:sp>
        </p:grpSp>
        <p:sp>
          <p:nvSpPr>
            <p:cNvPr id="12" name="AutoShape 40">
              <a:extLst>
                <a:ext uri="{FF2B5EF4-FFF2-40B4-BE49-F238E27FC236}">
                  <a16:creationId xmlns:a16="http://schemas.microsoft.com/office/drawing/2014/main" id="{7F2150C2-E6F5-091D-98CC-EDEEE1D42A2A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8215540" y="1385409"/>
              <a:ext cx="460145" cy="276225"/>
            </a:xfrm>
            <a:prstGeom prst="foldedCorner">
              <a:avLst>
                <a:gd name="adj" fmla="val 27606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rot="10800000" wrap="none" anchor="ctr" anchorCtr="1"/>
            <a:lstStyle/>
            <a:p>
              <a:pPr eaLnBrk="0" hangingPunct="0">
                <a:lnSpc>
                  <a:spcPct val="70000"/>
                </a:lnSpc>
              </a:pPr>
              <a:r>
                <a:rPr lang="en-US" altLang="de-DE" sz="1000" dirty="0">
                  <a:latin typeface="Arial" panose="020B0604020202020204" pitchFamily="34" charset="0"/>
                  <a:cs typeface="Arial" panose="020B0604020202020204" pitchFamily="34" charset="0"/>
                </a:rPr>
                <a:t>AWS</a:t>
              </a:r>
              <a:endParaRPr lang="en-US" altLang="de-DE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4" name="Grafik 13" descr="Ein Bild, das Text, Geschirr enthält.&#10;&#10;Automatisch generierte Beschreibung">
            <a:extLst>
              <a:ext uri="{FF2B5EF4-FFF2-40B4-BE49-F238E27FC236}">
                <a16:creationId xmlns:a16="http://schemas.microsoft.com/office/drawing/2014/main" id="{22635613-88CA-D6A5-CF45-19DB2389D6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9573" y="4402957"/>
            <a:ext cx="749244" cy="448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443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E0A65F-A2BE-9E03-FC7C-0C99AFF24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2799" y="2250000"/>
            <a:ext cx="6278289" cy="900000"/>
          </a:xfrm>
        </p:spPr>
        <p:txBody>
          <a:bodyPr/>
          <a:lstStyle/>
          <a:p>
            <a:r>
              <a:rPr lang="en-US" sz="2400" dirty="0">
                <a:sym typeface="Wingdings" panose="05000000000000000000" pitchFamily="2" charset="2"/>
              </a:rPr>
              <a:t>RQ1: What are the conceptual </a:t>
            </a:r>
            <a:r>
              <a:rPr lang="en-US" sz="2400" dirty="0">
                <a:solidFill>
                  <a:srgbClr val="00B0F0"/>
                </a:solidFill>
                <a:sym typeface="Wingdings" panose="05000000000000000000" pitchFamily="2" charset="2"/>
              </a:rPr>
              <a:t>metamodels</a:t>
            </a:r>
            <a:r>
              <a:rPr lang="en-US" sz="2400" dirty="0">
                <a:sym typeface="Wingdings" panose="05000000000000000000" pitchFamily="2" charset="2"/>
              </a:rPr>
              <a:t> </a:t>
            </a:r>
            <a:r>
              <a:rPr lang="en-US" sz="2400" dirty="0">
                <a:solidFill>
                  <a:schemeClr val="accent1"/>
                </a:solidFill>
                <a:sym typeface="Wingdings" panose="05000000000000000000" pitchFamily="2" charset="2"/>
              </a:rPr>
              <a:t>used</a:t>
            </a:r>
            <a:r>
              <a:rPr lang="en-US" sz="2400" dirty="0">
                <a:sym typeface="Wingdings" panose="05000000000000000000" pitchFamily="2" charset="2"/>
              </a:rPr>
              <a:t> by existing DT platforms?</a:t>
            </a:r>
            <a:endParaRPr lang="en-US" sz="240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D56D0-CB23-1AFE-0319-591885BF06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5799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16C651E-DB99-1808-BC54-8FC5923D58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0507EA-7B8E-474F-AA8E-D4ECAB93AB91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2B1DC7-3423-8349-9632-6719F9C92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C7ABCC-8838-D785-3543-692DA195A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F2935E-87C0-772C-7B31-1F1275F92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ncovering the metamodel of Microsoft Azure DTD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674A8DC-E475-145F-89A1-D9F047F37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Q1: What are the conceptual metamodels used by existing DT platforms?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6175158B-189D-87C2-6EAA-59FA92D07AE8}"/>
              </a:ext>
            </a:extLst>
          </p:cNvPr>
          <p:cNvSpPr/>
          <p:nvPr/>
        </p:nvSpPr>
        <p:spPr>
          <a:xfrm>
            <a:off x="5759820" y="2149034"/>
            <a:ext cx="705754" cy="275742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terface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752226EF-93BA-DB79-5BDD-5A85F8A3836A}"/>
              </a:ext>
            </a:extLst>
          </p:cNvPr>
          <p:cNvSpPr/>
          <p:nvPr/>
        </p:nvSpPr>
        <p:spPr>
          <a:xfrm>
            <a:off x="5670052" y="3431835"/>
            <a:ext cx="779326" cy="197308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roperty</a:t>
            </a:r>
            <a:endParaRPr kumimoji="0" lang="de-AT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1B481D3D-61CD-2992-F9F8-C61E361B9164}"/>
              </a:ext>
            </a:extLst>
          </p:cNvPr>
          <p:cNvSpPr/>
          <p:nvPr/>
        </p:nvSpPr>
        <p:spPr>
          <a:xfrm>
            <a:off x="6862817" y="3429200"/>
            <a:ext cx="887181" cy="194145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lIns="36000" rIns="36000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lationship</a:t>
            </a:r>
            <a:endParaRPr kumimoji="0" lang="de-AT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29" name="Textfeld 228">
            <a:extLst>
              <a:ext uri="{FF2B5EF4-FFF2-40B4-BE49-F238E27FC236}">
                <a16:creationId xmlns:a16="http://schemas.microsoft.com/office/drawing/2014/main" id="{3CB9B3B1-7189-7D84-8D20-5251C49C7BE9}"/>
              </a:ext>
            </a:extLst>
          </p:cNvPr>
          <p:cNvSpPr txBox="1"/>
          <p:nvPr/>
        </p:nvSpPr>
        <p:spPr>
          <a:xfrm>
            <a:off x="6569442" y="2273441"/>
            <a:ext cx="61587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kumimoji="0" lang="de-AT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arget</a:t>
            </a:r>
            <a:endParaRPr kumimoji="0" lang="de-AT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5E070E94-510B-7249-1FFD-6261B00306E5}"/>
              </a:ext>
            </a:extLst>
          </p:cNvPr>
          <p:cNvSpPr/>
          <p:nvPr/>
        </p:nvSpPr>
        <p:spPr>
          <a:xfrm>
            <a:off x="4804918" y="3429288"/>
            <a:ext cx="779325" cy="201135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elemetry</a:t>
            </a:r>
            <a:endParaRPr kumimoji="0" lang="de-AT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EDE70AD3-AAC0-1DD3-3272-D16C32E3546E}"/>
              </a:ext>
            </a:extLst>
          </p:cNvPr>
          <p:cNvSpPr/>
          <p:nvPr/>
        </p:nvSpPr>
        <p:spPr>
          <a:xfrm>
            <a:off x="3962490" y="3428888"/>
            <a:ext cx="777620" cy="20903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lIns="36000" rIns="36000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ommand</a:t>
            </a:r>
          </a:p>
        </p:txBody>
      </p:sp>
      <p:sp>
        <p:nvSpPr>
          <p:cNvPr id="236" name="Raute 235">
            <a:extLst>
              <a:ext uri="{FF2B5EF4-FFF2-40B4-BE49-F238E27FC236}">
                <a16:creationId xmlns:a16="http://schemas.microsoft.com/office/drawing/2014/main" id="{5EDD3490-5021-8C63-8DC6-F9C010B1ADE8}"/>
              </a:ext>
            </a:extLst>
          </p:cNvPr>
          <p:cNvSpPr/>
          <p:nvPr/>
        </p:nvSpPr>
        <p:spPr>
          <a:xfrm flipH="1">
            <a:off x="6011710" y="2429024"/>
            <a:ext cx="88258" cy="123561"/>
          </a:xfrm>
          <a:prstGeom prst="diamond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>
                <a:shade val="50000"/>
              </a:sysClr>
            </a:solidFill>
            <a:prstDash val="solid"/>
            <a:miter lim="800000"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E8D4162-8D3F-796E-C2D8-56428956DA91}"/>
              </a:ext>
            </a:extLst>
          </p:cNvPr>
          <p:cNvSpPr/>
          <p:nvPr/>
        </p:nvSpPr>
        <p:spPr>
          <a:xfrm>
            <a:off x="5460690" y="2797116"/>
            <a:ext cx="1191869" cy="212605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terfaceContent</a:t>
            </a:r>
            <a:endParaRPr kumimoji="0" lang="de-AT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E7A1AD63-3742-4F8D-698B-52CFB6DC8453}"/>
              </a:ext>
            </a:extLst>
          </p:cNvPr>
          <p:cNvSpPr/>
          <p:nvPr/>
        </p:nvSpPr>
        <p:spPr>
          <a:xfrm>
            <a:off x="4283299" y="2308344"/>
            <a:ext cx="916021" cy="20903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TElement</a:t>
            </a:r>
            <a:endParaRPr kumimoji="0" lang="de-AT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BEE437E7-938A-6C4A-8FF9-075F2162F3E3}"/>
              </a:ext>
            </a:extLst>
          </p:cNvPr>
          <p:cNvSpPr/>
          <p:nvPr/>
        </p:nvSpPr>
        <p:spPr>
          <a:xfrm>
            <a:off x="4283300" y="1765684"/>
            <a:ext cx="913619" cy="20903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TMI</a:t>
            </a:r>
          </a:p>
        </p:txBody>
      </p:sp>
      <p:cxnSp>
        <p:nvCxnSpPr>
          <p:cNvPr id="244" name="Verbinder: gewinkelt 171">
            <a:extLst>
              <a:ext uri="{FF2B5EF4-FFF2-40B4-BE49-F238E27FC236}">
                <a16:creationId xmlns:a16="http://schemas.microsoft.com/office/drawing/2014/main" id="{1329ACDC-DE17-81B9-5A7A-3A9E3C74281A}"/>
              </a:ext>
            </a:extLst>
          </p:cNvPr>
          <p:cNvCxnSpPr>
            <a:cxnSpLocks/>
            <a:stCxn id="222" idx="0"/>
            <a:endCxn id="222" idx="1"/>
          </p:cNvCxnSpPr>
          <p:nvPr/>
        </p:nvCxnSpPr>
        <p:spPr>
          <a:xfrm rot="16200000" flipH="1" flipV="1">
            <a:off x="5867323" y="2041531"/>
            <a:ext cx="137871" cy="352877"/>
          </a:xfrm>
          <a:prstGeom prst="bentConnector4">
            <a:avLst>
              <a:gd name="adj1" fmla="val -131253"/>
              <a:gd name="adj2" fmla="val 151281"/>
            </a:avLst>
          </a:prstGeom>
          <a:noFill/>
          <a:ln w="9525" cap="flat" cmpd="sng">
            <a:solidFill>
              <a:sysClr val="windowText" lastClr="000000"/>
            </a:solidFill>
            <a:prstDash val="solid"/>
            <a:miter lim="800000"/>
            <a:headEnd type="none" w="sm" len="sm"/>
            <a:tailEnd type="triangle" w="lg" len="lg"/>
          </a:ln>
        </p:spPr>
      </p:cxnSp>
      <p:sp>
        <p:nvSpPr>
          <p:cNvPr id="246" name="Rechteck 245">
            <a:extLst>
              <a:ext uri="{FF2B5EF4-FFF2-40B4-BE49-F238E27FC236}">
                <a16:creationId xmlns:a16="http://schemas.microsoft.com/office/drawing/2014/main" id="{7907F29C-BDA6-759A-6FCE-8B1EBF5B0E1D}"/>
              </a:ext>
            </a:extLst>
          </p:cNvPr>
          <p:cNvSpPr/>
          <p:nvPr/>
        </p:nvSpPr>
        <p:spPr>
          <a:xfrm>
            <a:off x="7832799" y="3422125"/>
            <a:ext cx="768914" cy="201210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lIns="36000" rIns="36000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omponent</a:t>
            </a:r>
            <a:endParaRPr kumimoji="0" lang="de-AT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48" name="Textfeld 247">
            <a:extLst>
              <a:ext uri="{FF2B5EF4-FFF2-40B4-BE49-F238E27FC236}">
                <a16:creationId xmlns:a16="http://schemas.microsoft.com/office/drawing/2014/main" id="{E30453BA-C778-8151-4915-D1931E8FDE4F}"/>
              </a:ext>
            </a:extLst>
          </p:cNvPr>
          <p:cNvSpPr txBox="1"/>
          <p:nvPr/>
        </p:nvSpPr>
        <p:spPr>
          <a:xfrm>
            <a:off x="5262309" y="1934533"/>
            <a:ext cx="91242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0..2  </a:t>
            </a:r>
            <a:r>
              <a:rPr kumimoji="0" lang="de-AT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tends</a:t>
            </a:r>
            <a:endParaRPr kumimoji="0" lang="de-AT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1" name="Textfeld 250">
            <a:extLst>
              <a:ext uri="{FF2B5EF4-FFF2-40B4-BE49-F238E27FC236}">
                <a16:creationId xmlns:a16="http://schemas.microsoft.com/office/drawing/2014/main" id="{540A0D6C-40D5-70C6-B95A-203A6782B8B7}"/>
              </a:ext>
            </a:extLst>
          </p:cNvPr>
          <p:cNvSpPr txBox="1"/>
          <p:nvPr/>
        </p:nvSpPr>
        <p:spPr>
          <a:xfrm>
            <a:off x="6516599" y="3364048"/>
            <a:ext cx="2343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</a:p>
        </p:txBody>
      </p:sp>
      <p:cxnSp>
        <p:nvCxnSpPr>
          <p:cNvPr id="252" name="Verbinder: gewinkelt 171">
            <a:extLst>
              <a:ext uri="{FF2B5EF4-FFF2-40B4-BE49-F238E27FC236}">
                <a16:creationId xmlns:a16="http://schemas.microsoft.com/office/drawing/2014/main" id="{20100491-1CFA-4662-DB28-0635855BCC8A}"/>
              </a:ext>
            </a:extLst>
          </p:cNvPr>
          <p:cNvCxnSpPr>
            <a:cxnSpLocks/>
            <a:endCxn id="222" idx="3"/>
          </p:cNvCxnSpPr>
          <p:nvPr/>
        </p:nvCxnSpPr>
        <p:spPr>
          <a:xfrm rot="10800000">
            <a:off x="6465574" y="2286905"/>
            <a:ext cx="1866800" cy="1144928"/>
          </a:xfrm>
          <a:prstGeom prst="bentConnector3">
            <a:avLst>
              <a:gd name="adj1" fmla="val -513"/>
            </a:avLst>
          </a:prstGeom>
          <a:noFill/>
          <a:ln w="9525" cap="flat" cmpd="sng">
            <a:solidFill>
              <a:sysClr val="windowText" lastClr="000000"/>
            </a:solidFill>
            <a:prstDash val="solid"/>
            <a:miter lim="800000"/>
            <a:headEnd type="none" w="sm" len="sm"/>
            <a:tailEnd type="triangle" w="lg" len="lg"/>
          </a:ln>
        </p:spPr>
      </p:cxnSp>
      <p:sp>
        <p:nvSpPr>
          <p:cNvPr id="254" name="Raute 253">
            <a:extLst>
              <a:ext uri="{FF2B5EF4-FFF2-40B4-BE49-F238E27FC236}">
                <a16:creationId xmlns:a16="http://schemas.microsoft.com/office/drawing/2014/main" id="{83A51680-D329-4295-F3A3-A02DC77AF18B}"/>
              </a:ext>
            </a:extLst>
          </p:cNvPr>
          <p:cNvSpPr/>
          <p:nvPr/>
        </p:nvSpPr>
        <p:spPr>
          <a:xfrm rot="10800000" flipH="1">
            <a:off x="4695097" y="2178613"/>
            <a:ext cx="88258" cy="123561"/>
          </a:xfrm>
          <a:prstGeom prst="diamond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>
                <a:shade val="50000"/>
              </a:sysClr>
            </a:solidFill>
            <a:prstDash val="solid"/>
            <a:miter lim="800000"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55" name="Verbinder: gewinkelt 171">
            <a:extLst>
              <a:ext uri="{FF2B5EF4-FFF2-40B4-BE49-F238E27FC236}">
                <a16:creationId xmlns:a16="http://schemas.microsoft.com/office/drawing/2014/main" id="{034FB1A0-D4DD-6B6A-7A5D-AFFB1C70DB28}"/>
              </a:ext>
            </a:extLst>
          </p:cNvPr>
          <p:cNvCxnSpPr>
            <a:cxnSpLocks/>
            <a:stCxn id="237" idx="1"/>
            <a:endCxn id="258" idx="3"/>
          </p:cNvCxnSpPr>
          <p:nvPr/>
        </p:nvCxnSpPr>
        <p:spPr>
          <a:xfrm rot="10800000">
            <a:off x="4737296" y="2610141"/>
            <a:ext cx="723395" cy="293279"/>
          </a:xfrm>
          <a:prstGeom prst="bentConnector2">
            <a:avLst/>
          </a:prstGeom>
          <a:noFill/>
          <a:ln w="9525" cap="flat" cmpd="sng">
            <a:solidFill>
              <a:sysClr val="windowText" lastClr="000000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256" name="Google Shape;528;g10f8d9d020d_0_26">
            <a:extLst>
              <a:ext uri="{FF2B5EF4-FFF2-40B4-BE49-F238E27FC236}">
                <a16:creationId xmlns:a16="http://schemas.microsoft.com/office/drawing/2014/main" id="{3DFFFB90-CC63-99B9-38B7-0FC5575D8CD0}"/>
              </a:ext>
            </a:extLst>
          </p:cNvPr>
          <p:cNvSpPr/>
          <p:nvPr/>
        </p:nvSpPr>
        <p:spPr>
          <a:xfrm flipH="1">
            <a:off x="6011242" y="3013100"/>
            <a:ext cx="98407" cy="86933"/>
          </a:xfrm>
          <a:prstGeom prst="triangle">
            <a:avLst>
              <a:gd name="adj" fmla="val 50000"/>
            </a:avLst>
          </a:prstGeom>
          <a:solidFill>
            <a:sysClr val="window" lastClr="FFFFFF"/>
          </a:solidFill>
          <a:ln w="9525" cap="flat" cmpd="sng">
            <a:solidFill>
              <a:sysClr val="windowText" lastClr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4"/>
              <a:buFontTx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257" name="Textfeld 256">
            <a:extLst>
              <a:ext uri="{FF2B5EF4-FFF2-40B4-BE49-F238E27FC236}">
                <a16:creationId xmlns:a16="http://schemas.microsoft.com/office/drawing/2014/main" id="{C9340A2A-C04D-4482-8EC3-0FA826E03C8F}"/>
              </a:ext>
            </a:extLst>
          </p:cNvPr>
          <p:cNvSpPr txBox="1"/>
          <p:nvPr/>
        </p:nvSpPr>
        <p:spPr>
          <a:xfrm>
            <a:off x="4740999" y="2034481"/>
            <a:ext cx="195856" cy="246221"/>
          </a:xfrm>
          <a:prstGeom prst="rect">
            <a:avLst/>
          </a:prstGeom>
          <a:noFill/>
          <a:ln w="12700" cap="flat" cmpd="sng">
            <a:noFill/>
            <a:prstDash val="solid"/>
            <a:miter lim="800000"/>
            <a:headEnd type="none" w="sm" len="sm"/>
            <a:tailEnd type="triangle" w="lg" len="lg"/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58" name="Google Shape;528;g10f8d9d020d_0_26">
            <a:extLst>
              <a:ext uri="{FF2B5EF4-FFF2-40B4-BE49-F238E27FC236}">
                <a16:creationId xmlns:a16="http://schemas.microsoft.com/office/drawing/2014/main" id="{101E796F-D9BD-0018-476D-90C74834FEB1}"/>
              </a:ext>
            </a:extLst>
          </p:cNvPr>
          <p:cNvSpPr/>
          <p:nvPr/>
        </p:nvSpPr>
        <p:spPr>
          <a:xfrm flipH="1">
            <a:off x="4688092" y="2523207"/>
            <a:ext cx="98407" cy="86933"/>
          </a:xfrm>
          <a:prstGeom prst="triangle">
            <a:avLst>
              <a:gd name="adj" fmla="val 50000"/>
            </a:avLst>
          </a:prstGeom>
          <a:solidFill>
            <a:sysClr val="window" lastClr="FFFFFF"/>
          </a:solidFill>
          <a:ln w="9525" cap="flat" cmpd="sng">
            <a:solidFill>
              <a:sysClr val="windowText" lastClr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4"/>
              <a:buFontTx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259" name="Google Shape;528;g10f8d9d020d_0_26">
            <a:extLst>
              <a:ext uri="{FF2B5EF4-FFF2-40B4-BE49-F238E27FC236}">
                <a16:creationId xmlns:a16="http://schemas.microsoft.com/office/drawing/2014/main" id="{C0EF2879-3110-88A7-9CD1-63A5B3B9961B}"/>
              </a:ext>
            </a:extLst>
          </p:cNvPr>
          <p:cNvSpPr/>
          <p:nvPr/>
        </p:nvSpPr>
        <p:spPr>
          <a:xfrm rot="16200000" flipH="1">
            <a:off x="5196506" y="2348771"/>
            <a:ext cx="98407" cy="86933"/>
          </a:xfrm>
          <a:prstGeom prst="triangle">
            <a:avLst>
              <a:gd name="adj" fmla="val 50000"/>
            </a:avLst>
          </a:prstGeom>
          <a:solidFill>
            <a:sysClr val="window" lastClr="FFFFFF"/>
          </a:solidFill>
          <a:ln w="9525" cap="flat" cmpd="sng">
            <a:solidFill>
              <a:sysClr val="windowText" lastClr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4"/>
              <a:buFontTx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A6AF5352-793F-B154-B156-70E9B527265C}"/>
              </a:ext>
            </a:extLst>
          </p:cNvPr>
          <p:cNvSpPr/>
          <p:nvPr/>
        </p:nvSpPr>
        <p:spPr>
          <a:xfrm>
            <a:off x="5397499" y="3846406"/>
            <a:ext cx="609426" cy="19412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lIns="36000" rIns="36000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hema</a:t>
            </a:r>
            <a:endParaRPr kumimoji="0" lang="de-AT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9F1C05C1-2FDC-E696-9158-7ED0979620E0}"/>
              </a:ext>
            </a:extLst>
          </p:cNvPr>
          <p:cNvSpPr/>
          <p:nvPr/>
        </p:nvSpPr>
        <p:spPr>
          <a:xfrm>
            <a:off x="4593032" y="4409034"/>
            <a:ext cx="534216" cy="19412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lIns="36000" rIns="36000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bject</a:t>
            </a:r>
            <a:endParaRPr kumimoji="0" lang="de-AT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11BEA6E7-40A4-6FED-B270-22B07AA80533}"/>
              </a:ext>
            </a:extLst>
          </p:cNvPr>
          <p:cNvSpPr/>
          <p:nvPr/>
        </p:nvSpPr>
        <p:spPr>
          <a:xfrm>
            <a:off x="5199321" y="4725911"/>
            <a:ext cx="476682" cy="19412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lIns="36000" rIns="36000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rray</a:t>
            </a:r>
            <a:endParaRPr kumimoji="0" lang="de-AT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1FDE4DE0-1ED4-C034-AEC9-C459DECF3433}"/>
              </a:ext>
            </a:extLst>
          </p:cNvPr>
          <p:cNvSpPr/>
          <p:nvPr/>
        </p:nvSpPr>
        <p:spPr>
          <a:xfrm>
            <a:off x="6093761" y="4729488"/>
            <a:ext cx="493893" cy="19412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lIns="36000" rIns="36000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Enum</a:t>
            </a:r>
            <a:endParaRPr kumimoji="0" lang="de-AT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64" name="Raute 263">
            <a:extLst>
              <a:ext uri="{FF2B5EF4-FFF2-40B4-BE49-F238E27FC236}">
                <a16:creationId xmlns:a16="http://schemas.microsoft.com/office/drawing/2014/main" id="{AFBD5E28-691E-EA11-EF38-95794F172855}"/>
              </a:ext>
            </a:extLst>
          </p:cNvPr>
          <p:cNvSpPr/>
          <p:nvPr/>
        </p:nvSpPr>
        <p:spPr>
          <a:xfrm rot="5400000" flipH="1">
            <a:off x="6749203" y="3466551"/>
            <a:ext cx="88258" cy="123561"/>
          </a:xfrm>
          <a:prstGeom prst="diamond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>
                <a:shade val="50000"/>
              </a:sysClr>
            </a:solidFill>
            <a:prstDash val="solid"/>
            <a:miter lim="800000"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79643AF3-BDAC-AF52-65F1-08AE2AB7A59B}"/>
              </a:ext>
            </a:extLst>
          </p:cNvPr>
          <p:cNvSpPr/>
          <p:nvPr/>
        </p:nvSpPr>
        <p:spPr>
          <a:xfrm>
            <a:off x="5778363" y="4410182"/>
            <a:ext cx="416292" cy="19412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lIns="36000" rIns="36000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ap</a:t>
            </a:r>
            <a:endParaRPr kumimoji="0" lang="de-AT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0BBBFD35-E735-0067-8E5F-0A7481E9CD8F}"/>
              </a:ext>
            </a:extLst>
          </p:cNvPr>
          <p:cNvSpPr/>
          <p:nvPr/>
        </p:nvSpPr>
        <p:spPr>
          <a:xfrm>
            <a:off x="3888617" y="4729488"/>
            <a:ext cx="1179092" cy="194127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terfaceSchema</a:t>
            </a:r>
            <a:endParaRPr kumimoji="0" lang="de-AT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BD0CA072-48BE-3DA3-8400-21F94C755D8E}"/>
              </a:ext>
            </a:extLst>
          </p:cNvPr>
          <p:cNvSpPr/>
          <p:nvPr/>
        </p:nvSpPr>
        <p:spPr>
          <a:xfrm>
            <a:off x="6464201" y="4406102"/>
            <a:ext cx="1307843" cy="194128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eospacialSchema</a:t>
            </a:r>
            <a:endParaRPr kumimoji="0" lang="de-AT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68" name="Google Shape;528;g10f8d9d020d_0_26">
            <a:extLst>
              <a:ext uri="{FF2B5EF4-FFF2-40B4-BE49-F238E27FC236}">
                <a16:creationId xmlns:a16="http://schemas.microsoft.com/office/drawing/2014/main" id="{119690F4-8772-CE0B-C658-D5DD9BCDC15E}"/>
              </a:ext>
            </a:extLst>
          </p:cNvPr>
          <p:cNvSpPr/>
          <p:nvPr/>
        </p:nvSpPr>
        <p:spPr>
          <a:xfrm flipH="1">
            <a:off x="5691148" y="4044105"/>
            <a:ext cx="98407" cy="86933"/>
          </a:xfrm>
          <a:prstGeom prst="triangle">
            <a:avLst>
              <a:gd name="adj" fmla="val 50000"/>
            </a:avLst>
          </a:prstGeom>
          <a:solidFill>
            <a:sysClr val="window" lastClr="FFFFFF"/>
          </a:solidFill>
          <a:ln w="9525" cap="flat" cmpd="sng">
            <a:solidFill>
              <a:sysClr val="windowText" lastClr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4"/>
              <a:buFontTx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cxnSp>
        <p:nvCxnSpPr>
          <p:cNvPr id="269" name="Verbinder: gewinkelt 171">
            <a:extLst>
              <a:ext uri="{FF2B5EF4-FFF2-40B4-BE49-F238E27FC236}">
                <a16:creationId xmlns:a16="http://schemas.microsoft.com/office/drawing/2014/main" id="{89A01448-E7CB-3292-CF75-A4F55D95D4AC}"/>
              </a:ext>
            </a:extLst>
          </p:cNvPr>
          <p:cNvCxnSpPr>
            <a:cxnSpLocks/>
            <a:stCxn id="261" idx="0"/>
            <a:endCxn id="268" idx="3"/>
          </p:cNvCxnSpPr>
          <p:nvPr/>
        </p:nvCxnSpPr>
        <p:spPr>
          <a:xfrm rot="5400000" flipH="1" flipV="1">
            <a:off x="5161247" y="3829932"/>
            <a:ext cx="277996" cy="880211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ysClr val="windowText" lastClr="000000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270" name="Verbinder: gewinkelt 171">
            <a:extLst>
              <a:ext uri="{FF2B5EF4-FFF2-40B4-BE49-F238E27FC236}">
                <a16:creationId xmlns:a16="http://schemas.microsoft.com/office/drawing/2014/main" id="{B1AE19EE-0605-6AA7-3242-65EB56B7C0E0}"/>
              </a:ext>
            </a:extLst>
          </p:cNvPr>
          <p:cNvCxnSpPr>
            <a:cxnSpLocks/>
            <a:stCxn id="262" idx="0"/>
            <a:endCxn id="268" idx="3"/>
          </p:cNvCxnSpPr>
          <p:nvPr/>
        </p:nvCxnSpPr>
        <p:spPr>
          <a:xfrm rot="5400000" flipH="1" flipV="1">
            <a:off x="5291571" y="4277131"/>
            <a:ext cx="594873" cy="302688"/>
          </a:xfrm>
          <a:prstGeom prst="bentConnector3">
            <a:avLst>
              <a:gd name="adj1" fmla="val 76220"/>
            </a:avLst>
          </a:prstGeom>
          <a:noFill/>
          <a:ln w="9525" cap="flat" cmpd="sng">
            <a:solidFill>
              <a:sysClr val="windowText" lastClr="000000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271" name="Verbinder: gewinkelt 171">
            <a:extLst>
              <a:ext uri="{FF2B5EF4-FFF2-40B4-BE49-F238E27FC236}">
                <a16:creationId xmlns:a16="http://schemas.microsoft.com/office/drawing/2014/main" id="{0B7BC48D-B6A5-297E-4492-8A9E7A5AA411}"/>
              </a:ext>
            </a:extLst>
          </p:cNvPr>
          <p:cNvCxnSpPr>
            <a:cxnSpLocks/>
            <a:stCxn id="265" idx="0"/>
            <a:endCxn id="268" idx="3"/>
          </p:cNvCxnSpPr>
          <p:nvPr/>
        </p:nvCxnSpPr>
        <p:spPr>
          <a:xfrm rot="16200000" flipV="1">
            <a:off x="5723858" y="4147530"/>
            <a:ext cx="279144" cy="246159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ysClr val="windowText" lastClr="000000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272" name="Verbinder: gewinkelt 171">
            <a:extLst>
              <a:ext uri="{FF2B5EF4-FFF2-40B4-BE49-F238E27FC236}">
                <a16:creationId xmlns:a16="http://schemas.microsoft.com/office/drawing/2014/main" id="{D544665C-6801-0899-C382-955295FADFA1}"/>
              </a:ext>
            </a:extLst>
          </p:cNvPr>
          <p:cNvCxnSpPr>
            <a:cxnSpLocks/>
            <a:stCxn id="263" idx="0"/>
            <a:endCxn id="268" idx="3"/>
          </p:cNvCxnSpPr>
          <p:nvPr/>
        </p:nvCxnSpPr>
        <p:spPr>
          <a:xfrm rot="16200000" flipV="1">
            <a:off x="5741305" y="4130085"/>
            <a:ext cx="598450" cy="600357"/>
          </a:xfrm>
          <a:prstGeom prst="bentConnector3">
            <a:avLst>
              <a:gd name="adj1" fmla="val 76063"/>
            </a:avLst>
          </a:prstGeom>
          <a:noFill/>
          <a:ln w="9525" cap="flat" cmpd="sng">
            <a:solidFill>
              <a:sysClr val="windowText" lastClr="000000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273" name="Verbinder: gewinkelt 171">
            <a:extLst>
              <a:ext uri="{FF2B5EF4-FFF2-40B4-BE49-F238E27FC236}">
                <a16:creationId xmlns:a16="http://schemas.microsoft.com/office/drawing/2014/main" id="{120CED02-8DFE-C3C8-16A6-D39972BA4E43}"/>
              </a:ext>
            </a:extLst>
          </p:cNvPr>
          <p:cNvCxnSpPr>
            <a:cxnSpLocks/>
            <a:stCxn id="266" idx="0"/>
          </p:cNvCxnSpPr>
          <p:nvPr/>
        </p:nvCxnSpPr>
        <p:spPr>
          <a:xfrm rot="5400000" flipH="1" flipV="1">
            <a:off x="4507639" y="4252795"/>
            <a:ext cx="458502" cy="491253"/>
          </a:xfrm>
          <a:prstGeom prst="bentConnector2">
            <a:avLst/>
          </a:prstGeom>
          <a:noFill/>
          <a:ln w="9525" cap="flat" cmpd="sng">
            <a:solidFill>
              <a:sysClr val="windowText" lastClr="000000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275" name="Raute 274">
            <a:extLst>
              <a:ext uri="{FF2B5EF4-FFF2-40B4-BE49-F238E27FC236}">
                <a16:creationId xmlns:a16="http://schemas.microsoft.com/office/drawing/2014/main" id="{6988E7B6-8B13-853D-997E-0FE0F76B3B5A}"/>
              </a:ext>
            </a:extLst>
          </p:cNvPr>
          <p:cNvSpPr/>
          <p:nvPr/>
        </p:nvSpPr>
        <p:spPr>
          <a:xfrm flipH="1">
            <a:off x="6170393" y="3640829"/>
            <a:ext cx="88258" cy="123561"/>
          </a:xfrm>
          <a:prstGeom prst="diamond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>
                <a:shade val="50000"/>
              </a:sysClr>
            </a:solidFill>
            <a:prstDash val="solid"/>
            <a:miter lim="800000"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76" name="Raute 275">
            <a:extLst>
              <a:ext uri="{FF2B5EF4-FFF2-40B4-BE49-F238E27FC236}">
                <a16:creationId xmlns:a16="http://schemas.microsoft.com/office/drawing/2014/main" id="{407733DF-AE24-FF95-13A5-451E1F740B76}"/>
              </a:ext>
            </a:extLst>
          </p:cNvPr>
          <p:cNvSpPr/>
          <p:nvPr/>
        </p:nvSpPr>
        <p:spPr>
          <a:xfrm flipH="1">
            <a:off x="5113112" y="3631977"/>
            <a:ext cx="88258" cy="123561"/>
          </a:xfrm>
          <a:prstGeom prst="diamond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>
                <a:shade val="50000"/>
              </a:sysClr>
            </a:solidFill>
            <a:prstDash val="solid"/>
            <a:miter lim="800000"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7" name="Verbinder: gewinkelt 171">
            <a:extLst>
              <a:ext uri="{FF2B5EF4-FFF2-40B4-BE49-F238E27FC236}">
                <a16:creationId xmlns:a16="http://schemas.microsoft.com/office/drawing/2014/main" id="{009EAF38-B5F0-5C25-CD73-ABCB446C6ACC}"/>
              </a:ext>
            </a:extLst>
          </p:cNvPr>
          <p:cNvCxnSpPr>
            <a:cxnSpLocks/>
            <a:stCxn id="275" idx="2"/>
            <a:endCxn id="260" idx="3"/>
          </p:cNvCxnSpPr>
          <p:nvPr/>
        </p:nvCxnSpPr>
        <p:spPr>
          <a:xfrm rot="5400000">
            <a:off x="6021184" y="3750132"/>
            <a:ext cx="179080" cy="207596"/>
          </a:xfrm>
          <a:prstGeom prst="bentConnector2">
            <a:avLst/>
          </a:prstGeom>
          <a:noFill/>
          <a:ln w="9525" cap="flat" cmpd="sng">
            <a:solidFill>
              <a:sysClr val="windowText" lastClr="000000"/>
            </a:solidFill>
            <a:prstDash val="solid"/>
            <a:miter lim="800000"/>
            <a:headEnd type="none" w="sm" len="sm"/>
            <a:tailEnd type="triangle" w="lg" len="lg"/>
          </a:ln>
        </p:spPr>
      </p:cxnSp>
      <p:cxnSp>
        <p:nvCxnSpPr>
          <p:cNvPr id="278" name="Verbinder: gewinkelt 171">
            <a:extLst>
              <a:ext uri="{FF2B5EF4-FFF2-40B4-BE49-F238E27FC236}">
                <a16:creationId xmlns:a16="http://schemas.microsoft.com/office/drawing/2014/main" id="{60629B95-2C0B-8F47-C883-CB83DCC0C83E}"/>
              </a:ext>
            </a:extLst>
          </p:cNvPr>
          <p:cNvCxnSpPr>
            <a:cxnSpLocks/>
            <a:stCxn id="276" idx="2"/>
            <a:endCxn id="260" idx="1"/>
          </p:cNvCxnSpPr>
          <p:nvPr/>
        </p:nvCxnSpPr>
        <p:spPr>
          <a:xfrm rot="16200000" flipH="1">
            <a:off x="5183403" y="3729374"/>
            <a:ext cx="187932" cy="240259"/>
          </a:xfrm>
          <a:prstGeom prst="bentConnector2">
            <a:avLst/>
          </a:prstGeom>
          <a:noFill/>
          <a:ln w="9525" cap="flat" cmpd="sng">
            <a:solidFill>
              <a:sysClr val="windowText" lastClr="000000"/>
            </a:solidFill>
            <a:prstDash val="solid"/>
            <a:miter lim="800000"/>
            <a:headEnd type="none" w="sm" len="sm"/>
            <a:tailEnd type="triangle" w="lg" len="lg"/>
          </a:ln>
        </p:spPr>
      </p:cxnSp>
      <p:sp>
        <p:nvSpPr>
          <p:cNvPr id="279" name="Textfeld 278">
            <a:extLst>
              <a:ext uri="{FF2B5EF4-FFF2-40B4-BE49-F238E27FC236}">
                <a16:creationId xmlns:a16="http://schemas.microsoft.com/office/drawing/2014/main" id="{81F83ABB-BF51-9D48-2E40-6C7C9E1B7B66}"/>
              </a:ext>
            </a:extLst>
          </p:cNvPr>
          <p:cNvSpPr txBox="1"/>
          <p:nvPr/>
        </p:nvSpPr>
        <p:spPr>
          <a:xfrm>
            <a:off x="6011068" y="3697248"/>
            <a:ext cx="29046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</a:p>
        </p:txBody>
      </p:sp>
      <p:sp>
        <p:nvSpPr>
          <p:cNvPr id="280" name="Textfeld 279">
            <a:extLst>
              <a:ext uri="{FF2B5EF4-FFF2-40B4-BE49-F238E27FC236}">
                <a16:creationId xmlns:a16="http://schemas.microsoft.com/office/drawing/2014/main" id="{E046F700-840B-1F53-BA75-C28F1F33D9FD}"/>
              </a:ext>
            </a:extLst>
          </p:cNvPr>
          <p:cNvSpPr txBox="1"/>
          <p:nvPr/>
        </p:nvSpPr>
        <p:spPr>
          <a:xfrm>
            <a:off x="5098646" y="3725919"/>
            <a:ext cx="29046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C873144D-049C-F6D6-1107-6351FE31E735}"/>
              </a:ext>
            </a:extLst>
          </p:cNvPr>
          <p:cNvSpPr/>
          <p:nvPr/>
        </p:nvSpPr>
        <p:spPr>
          <a:xfrm>
            <a:off x="7366761" y="4725721"/>
            <a:ext cx="1188473" cy="194128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rimitiveSchema</a:t>
            </a:r>
            <a:endParaRPr kumimoji="0" lang="de-AT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82" name="Verbinder: gewinkelt 171">
            <a:extLst>
              <a:ext uri="{FF2B5EF4-FFF2-40B4-BE49-F238E27FC236}">
                <a16:creationId xmlns:a16="http://schemas.microsoft.com/office/drawing/2014/main" id="{31E8E8C5-B078-CFAF-1556-705149DC4335}"/>
              </a:ext>
            </a:extLst>
          </p:cNvPr>
          <p:cNvCxnSpPr>
            <a:cxnSpLocks/>
            <a:stCxn id="281" idx="0"/>
            <a:endCxn id="268" idx="3"/>
          </p:cNvCxnSpPr>
          <p:nvPr/>
        </p:nvCxnSpPr>
        <p:spPr>
          <a:xfrm rot="16200000" flipV="1">
            <a:off x="6553333" y="3318056"/>
            <a:ext cx="594683" cy="2220647"/>
          </a:xfrm>
          <a:prstGeom prst="bentConnector3">
            <a:avLst>
              <a:gd name="adj1" fmla="val 76228"/>
            </a:avLst>
          </a:prstGeom>
          <a:noFill/>
          <a:ln w="9525" cap="flat" cmpd="sng">
            <a:solidFill>
              <a:sysClr val="windowText" lastClr="000000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283" name="Gerader Verbinder 282">
            <a:extLst>
              <a:ext uri="{FF2B5EF4-FFF2-40B4-BE49-F238E27FC236}">
                <a16:creationId xmlns:a16="http://schemas.microsoft.com/office/drawing/2014/main" id="{62ED6434-81DC-97BD-4A76-6FB6753F2DA0}"/>
              </a:ext>
            </a:extLst>
          </p:cNvPr>
          <p:cNvCxnSpPr>
            <a:cxnSpLocks/>
            <a:stCxn id="259" idx="3"/>
          </p:cNvCxnSpPr>
          <p:nvPr/>
        </p:nvCxnSpPr>
        <p:spPr>
          <a:xfrm>
            <a:off x="5289176" y="2392238"/>
            <a:ext cx="483170" cy="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9C779C16-55B7-69D5-6501-FBC029B852F3}"/>
              </a:ext>
            </a:extLst>
          </p:cNvPr>
          <p:cNvCxnSpPr>
            <a:cxnSpLocks/>
            <a:stCxn id="254" idx="2"/>
            <a:endCxn id="242" idx="2"/>
          </p:cNvCxnSpPr>
          <p:nvPr/>
        </p:nvCxnSpPr>
        <p:spPr>
          <a:xfrm flipV="1">
            <a:off x="4739226" y="1974721"/>
            <a:ext cx="884" cy="203892"/>
          </a:xfrm>
          <a:prstGeom prst="straightConnector1">
            <a:avLst/>
          </a:prstGeom>
          <a:noFill/>
          <a:ln w="12700" cap="flat" cmpd="sng">
            <a:solidFill>
              <a:sysClr val="windowText" lastClr="000000"/>
            </a:solidFill>
            <a:prstDash val="solid"/>
            <a:miter lim="800000"/>
            <a:headEnd type="none" w="sm" len="sm"/>
            <a:tailEnd type="triangle" w="lg" len="lg"/>
          </a:ln>
        </p:spPr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6FF3F94-2F68-ACB7-0C0E-CAB3DF46E8BD}"/>
              </a:ext>
            </a:extLst>
          </p:cNvPr>
          <p:cNvCxnSpPr>
            <a:cxnSpLocks/>
            <a:stCxn id="236" idx="2"/>
            <a:endCxn id="237" idx="0"/>
          </p:cNvCxnSpPr>
          <p:nvPr/>
        </p:nvCxnSpPr>
        <p:spPr>
          <a:xfrm>
            <a:off x="6055839" y="2552585"/>
            <a:ext cx="786" cy="244531"/>
          </a:xfrm>
          <a:prstGeom prst="straightConnector1">
            <a:avLst/>
          </a:prstGeom>
          <a:noFill/>
          <a:ln w="12700" cap="flat" cmpd="sng">
            <a:solidFill>
              <a:sysClr val="windowText" lastClr="000000"/>
            </a:solidFill>
            <a:prstDash val="solid"/>
            <a:miter lim="800000"/>
            <a:headEnd type="none" w="sm" len="sm"/>
            <a:tailEnd type="triangle" w="lg" len="lg"/>
          </a:ln>
        </p:spPr>
      </p:cxnSp>
      <p:cxnSp>
        <p:nvCxnSpPr>
          <p:cNvPr id="286" name="Gerade Verbindung mit Pfeil 285">
            <a:extLst>
              <a:ext uri="{FF2B5EF4-FFF2-40B4-BE49-F238E27FC236}">
                <a16:creationId xmlns:a16="http://schemas.microsoft.com/office/drawing/2014/main" id="{A557C7B6-0F18-D23D-EA50-6527CD882483}"/>
              </a:ext>
            </a:extLst>
          </p:cNvPr>
          <p:cNvCxnSpPr>
            <a:cxnSpLocks/>
            <a:stCxn id="264" idx="2"/>
            <a:endCxn id="224" idx="3"/>
          </p:cNvCxnSpPr>
          <p:nvPr/>
        </p:nvCxnSpPr>
        <p:spPr>
          <a:xfrm flipH="1">
            <a:off x="6449378" y="3528332"/>
            <a:ext cx="282174" cy="2157"/>
          </a:xfrm>
          <a:prstGeom prst="straightConnector1">
            <a:avLst/>
          </a:prstGeom>
          <a:noFill/>
          <a:ln w="9525" cap="flat" cmpd="sng">
            <a:solidFill>
              <a:sysClr val="windowText" lastClr="000000"/>
            </a:solidFill>
            <a:prstDash val="solid"/>
            <a:miter lim="800000"/>
            <a:headEnd type="none" w="sm" len="sm"/>
            <a:tailEnd type="triangle" w="lg" len="lg"/>
          </a:ln>
        </p:spPr>
      </p:cxnSp>
      <p:cxnSp>
        <p:nvCxnSpPr>
          <p:cNvPr id="287" name="Verbinder: gewinkelt 286">
            <a:extLst>
              <a:ext uri="{FF2B5EF4-FFF2-40B4-BE49-F238E27FC236}">
                <a16:creationId xmlns:a16="http://schemas.microsoft.com/office/drawing/2014/main" id="{A5E21E28-9471-E463-AEB0-78189BF0A62F}"/>
              </a:ext>
            </a:extLst>
          </p:cNvPr>
          <p:cNvCxnSpPr>
            <a:cxnSpLocks/>
            <a:stCxn id="234" idx="0"/>
          </p:cNvCxnSpPr>
          <p:nvPr/>
        </p:nvCxnSpPr>
        <p:spPr>
          <a:xfrm rot="5400000" flipH="1" flipV="1">
            <a:off x="5321965" y="2287241"/>
            <a:ext cx="170982" cy="2112313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88" name="Gerader Verbinder 287">
            <a:extLst>
              <a:ext uri="{FF2B5EF4-FFF2-40B4-BE49-F238E27FC236}">
                <a16:creationId xmlns:a16="http://schemas.microsoft.com/office/drawing/2014/main" id="{914A54E5-1BF2-B239-B9C3-57C84E86375A}"/>
              </a:ext>
            </a:extLst>
          </p:cNvPr>
          <p:cNvCxnSpPr>
            <a:cxnSpLocks/>
            <a:stCxn id="231" idx="0"/>
          </p:cNvCxnSpPr>
          <p:nvPr/>
        </p:nvCxnSpPr>
        <p:spPr>
          <a:xfrm flipH="1" flipV="1">
            <a:off x="5194094" y="3256257"/>
            <a:ext cx="487" cy="173031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89" name="Gerader Verbinder 288">
            <a:extLst>
              <a:ext uri="{FF2B5EF4-FFF2-40B4-BE49-F238E27FC236}">
                <a16:creationId xmlns:a16="http://schemas.microsoft.com/office/drawing/2014/main" id="{A2A7F9C2-488E-4802-C462-1A324F2C7609}"/>
              </a:ext>
            </a:extLst>
          </p:cNvPr>
          <p:cNvCxnSpPr>
            <a:cxnSpLocks/>
          </p:cNvCxnSpPr>
          <p:nvPr/>
        </p:nvCxnSpPr>
        <p:spPr>
          <a:xfrm flipV="1">
            <a:off x="6059961" y="3095873"/>
            <a:ext cx="487" cy="33596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90" name="Verbinder: gewinkelt 289">
            <a:extLst>
              <a:ext uri="{FF2B5EF4-FFF2-40B4-BE49-F238E27FC236}">
                <a16:creationId xmlns:a16="http://schemas.microsoft.com/office/drawing/2014/main" id="{6455B137-C8FD-4F37-DB90-F58F67DAE102}"/>
              </a:ext>
            </a:extLst>
          </p:cNvPr>
          <p:cNvCxnSpPr>
            <a:cxnSpLocks/>
            <a:endCxn id="227" idx="0"/>
          </p:cNvCxnSpPr>
          <p:nvPr/>
        </p:nvCxnSpPr>
        <p:spPr>
          <a:xfrm>
            <a:off x="5365309" y="3257067"/>
            <a:ext cx="1941098" cy="172133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91" name="Verbinder: gewinkelt 290">
            <a:extLst>
              <a:ext uri="{FF2B5EF4-FFF2-40B4-BE49-F238E27FC236}">
                <a16:creationId xmlns:a16="http://schemas.microsoft.com/office/drawing/2014/main" id="{A31AE35E-D7C8-DA10-B05A-9A82DB75B82E}"/>
              </a:ext>
            </a:extLst>
          </p:cNvPr>
          <p:cNvCxnSpPr>
            <a:cxnSpLocks/>
            <a:endCxn id="246" idx="0"/>
          </p:cNvCxnSpPr>
          <p:nvPr/>
        </p:nvCxnSpPr>
        <p:spPr>
          <a:xfrm>
            <a:off x="7312617" y="3255732"/>
            <a:ext cx="904639" cy="166393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B47CD58D-3093-15C9-04A0-D1B43B35EA36}"/>
              </a:ext>
            </a:extLst>
          </p:cNvPr>
          <p:cNvSpPr/>
          <p:nvPr/>
        </p:nvSpPr>
        <p:spPr>
          <a:xfrm>
            <a:off x="8115464" y="3431835"/>
            <a:ext cx="560222" cy="1858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47" name="Gerader Verbinder 346">
            <a:extLst>
              <a:ext uri="{FF2B5EF4-FFF2-40B4-BE49-F238E27FC236}">
                <a16:creationId xmlns:a16="http://schemas.microsoft.com/office/drawing/2014/main" id="{57FF2603-444F-C1F1-97FA-B8BD90DA60B2}"/>
              </a:ext>
            </a:extLst>
          </p:cNvPr>
          <p:cNvCxnSpPr>
            <a:cxnSpLocks/>
            <a:stCxn id="267" idx="0"/>
          </p:cNvCxnSpPr>
          <p:nvPr/>
        </p:nvCxnSpPr>
        <p:spPr>
          <a:xfrm flipH="1" flipV="1">
            <a:off x="7118122" y="4269169"/>
            <a:ext cx="1" cy="13693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381398AB-2442-6547-B128-F0870CEC5F48}"/>
              </a:ext>
            </a:extLst>
          </p:cNvPr>
          <p:cNvSpPr txBox="1"/>
          <p:nvPr/>
        </p:nvSpPr>
        <p:spPr>
          <a:xfrm>
            <a:off x="5213439" y="5014568"/>
            <a:ext cx="3809366" cy="209021"/>
          </a:xfrm>
          <a:prstGeom prst="rect">
            <a:avLst/>
          </a:prstGeom>
        </p:spPr>
        <p:txBody>
          <a:bodyPr vert="horz" wrap="square" lIns="0" tIns="0" rIns="0" bIns="0" spcCol="288000" rtlCol="0">
            <a:noAutofit/>
          </a:bodyPr>
          <a:lstStyle/>
          <a:p>
            <a:pPr algn="l"/>
            <a:r>
              <a:rPr lang="en-US" sz="1050" b="0" i="0" u="none" strike="noStrike" baseline="30000" dirty="0">
                <a:solidFill>
                  <a:schemeClr val="accent1"/>
                </a:solidFill>
                <a:latin typeface="NimbusRomNo9L-Regu"/>
              </a:rPr>
              <a:t>1</a:t>
            </a:r>
            <a:r>
              <a:rPr lang="en-US" sz="800" b="0" i="0" u="none" strike="noStrike" baseline="0" dirty="0">
                <a:solidFill>
                  <a:schemeClr val="accent1"/>
                </a:solidFill>
                <a:latin typeface="NimbusRomNo9L-Regu"/>
              </a:rPr>
              <a:t>https://github.com/Azure/opendigitaltwins-dtdl/blob/master/DTDL/v2/dtdlv2.md</a:t>
            </a:r>
            <a:endParaRPr lang="en-US" sz="700" dirty="0">
              <a:solidFill>
                <a:schemeClr val="accent1"/>
              </a:solidFill>
            </a:endParaRPr>
          </a:p>
        </p:txBody>
      </p:sp>
      <p:sp>
        <p:nvSpPr>
          <p:cNvPr id="67" name="Inhaltsplatzhalter 1">
            <a:extLst>
              <a:ext uri="{FF2B5EF4-FFF2-40B4-BE49-F238E27FC236}">
                <a16:creationId xmlns:a16="http://schemas.microsoft.com/office/drawing/2014/main" id="{B503D5B3-0096-5F2D-4BD2-6D56018D8CCD}"/>
              </a:ext>
            </a:extLst>
          </p:cNvPr>
          <p:cNvSpPr txBox="1">
            <a:spLocks/>
          </p:cNvSpPr>
          <p:nvPr/>
        </p:nvSpPr>
        <p:spPr>
          <a:xfrm>
            <a:off x="468313" y="1598400"/>
            <a:ext cx="3842524" cy="3492500"/>
          </a:xfrm>
          <a:prstGeom prst="rect">
            <a:avLst/>
          </a:prstGeom>
        </p:spPr>
        <p:txBody>
          <a:bodyPr vert="horz" lIns="0" tIns="0" rIns="0" bIns="0" spcCol="288000" rtlCol="0">
            <a:noAutofit/>
          </a:bodyPr>
          <a:lstStyle>
            <a:lvl1pPr marL="171450" indent="-17145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84150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6213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Extracted metamodel from GitHub</a:t>
            </a:r>
            <a:r>
              <a:rPr lang="en-US" baseline="30000" dirty="0"/>
              <a:t>1</a:t>
            </a:r>
          </a:p>
          <a:p>
            <a:pPr>
              <a:lnSpc>
                <a:spcPct val="150000"/>
              </a:lnSpc>
              <a:buClr>
                <a:srgbClr val="00519E"/>
              </a:buClr>
            </a:pPr>
            <a:endParaRPr lang="en-US" dirty="0"/>
          </a:p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Enables structural description via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Interface</a:t>
            </a:r>
            <a:r>
              <a:rPr lang="en-US" dirty="0"/>
              <a:t>: type of physical asset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Command</a:t>
            </a:r>
            <a:r>
              <a:rPr lang="en-US" dirty="0"/>
              <a:t>: interaction with devices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Telemetry</a:t>
            </a:r>
            <a:r>
              <a:rPr lang="en-US" dirty="0"/>
              <a:t>: continuous data streams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Property</a:t>
            </a:r>
            <a:r>
              <a:rPr lang="en-US" dirty="0"/>
              <a:t>: not frequently changing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Relationship</a:t>
            </a:r>
            <a:r>
              <a:rPr lang="en-US" dirty="0"/>
              <a:t>: association to interfaces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Component</a:t>
            </a:r>
            <a:r>
              <a:rPr lang="en-US" dirty="0"/>
              <a:t>: composition of interfaces</a:t>
            </a:r>
          </a:p>
        </p:txBody>
      </p:sp>
    </p:spTree>
    <p:extLst>
      <p:ext uri="{BB962C8B-B14F-4D97-AF65-F5344CB8AC3E}">
        <p14:creationId xmlns:p14="http://schemas.microsoft.com/office/powerpoint/2010/main" val="27986133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16C651E-DB99-1808-BC54-8FC5923D58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D9D3D-4B2A-436B-BACA-435FC03D1C49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2B1DC7-3423-8349-9632-6719F9C92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C7ABCC-8838-D785-3543-692DA195A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F2935E-87C0-772C-7B31-1F1275F92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ncovering the metamodel of Eclipse </a:t>
            </a:r>
            <a:r>
              <a:rPr lang="en-US" dirty="0" err="1"/>
              <a:t>VortoLang</a:t>
            </a:r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674A8DC-E475-145F-89A1-D9F047F37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Q1: What are the conceptual metamodels used by existing DT platforms?</a:t>
            </a:r>
          </a:p>
        </p:txBody>
      </p:sp>
      <p:sp>
        <p:nvSpPr>
          <p:cNvPr id="199" name="Inhaltsplatzhalter 1">
            <a:extLst>
              <a:ext uri="{FF2B5EF4-FFF2-40B4-BE49-F238E27FC236}">
                <a16:creationId xmlns:a16="http://schemas.microsoft.com/office/drawing/2014/main" id="{2BE3D46B-2134-871C-80DB-4CB59B6DA4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598400"/>
            <a:ext cx="3842524" cy="3492500"/>
          </a:xfrm>
        </p:spPr>
        <p:txBody>
          <a:bodyPr/>
          <a:lstStyle/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Based on published </a:t>
            </a:r>
            <a:r>
              <a:rPr lang="en-US" dirty="0" err="1">
                <a:solidFill>
                  <a:srgbClr val="00519E"/>
                </a:solidFill>
              </a:rPr>
              <a:t>Ecore</a:t>
            </a:r>
            <a:r>
              <a:rPr lang="en-US" dirty="0">
                <a:solidFill>
                  <a:srgbClr val="00519E"/>
                </a:solidFill>
              </a:rPr>
              <a:t> metamodel</a:t>
            </a:r>
            <a:r>
              <a:rPr lang="en-US" baseline="30000" dirty="0">
                <a:solidFill>
                  <a:srgbClr val="00519E"/>
                </a:solidFill>
              </a:rPr>
              <a:t>2</a:t>
            </a:r>
          </a:p>
          <a:p>
            <a:pPr marL="0" indent="0">
              <a:lnSpc>
                <a:spcPct val="150000"/>
              </a:lnSpc>
              <a:buClr>
                <a:srgbClr val="00519E"/>
              </a:buClr>
              <a:buNone/>
            </a:pPr>
            <a:endParaRPr lang="en-US" dirty="0">
              <a:solidFill>
                <a:srgbClr val="00519E"/>
              </a:solidFill>
            </a:endParaRPr>
          </a:p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Describe asset structure via:</a:t>
            </a:r>
          </a:p>
          <a:p>
            <a:pPr lvl="1">
              <a:lnSpc>
                <a:spcPct val="100000"/>
              </a:lnSpc>
              <a:buClr>
                <a:srgbClr val="00519E"/>
              </a:buClr>
            </a:pPr>
            <a:r>
              <a:rPr lang="en-US" dirty="0" err="1">
                <a:solidFill>
                  <a:srgbClr val="00519E"/>
                </a:solidFill>
              </a:rPr>
              <a:t>InformationModel</a:t>
            </a:r>
            <a:r>
              <a:rPr lang="en-US" dirty="0">
                <a:solidFill>
                  <a:srgbClr val="00519E"/>
                </a:solidFill>
              </a:rPr>
              <a:t>:</a:t>
            </a:r>
            <a:r>
              <a:rPr lang="en-US" dirty="0"/>
              <a:t> aggregates </a:t>
            </a:r>
            <a:r>
              <a:rPr lang="en-US" dirty="0" err="1"/>
              <a:t>FunctionBlocks</a:t>
            </a:r>
            <a:endParaRPr lang="en-US" dirty="0"/>
          </a:p>
          <a:p>
            <a:pPr lvl="1">
              <a:lnSpc>
                <a:spcPct val="100000"/>
              </a:lnSpc>
              <a:buClr>
                <a:srgbClr val="00519E"/>
              </a:buClr>
            </a:pPr>
            <a:r>
              <a:rPr lang="en-US" dirty="0" err="1">
                <a:solidFill>
                  <a:srgbClr val="00519E"/>
                </a:solidFill>
              </a:rPr>
              <a:t>FunctionBlock</a:t>
            </a:r>
            <a:r>
              <a:rPr lang="en-US" dirty="0"/>
              <a:t>: reusable implementation parts</a:t>
            </a:r>
          </a:p>
          <a:p>
            <a:pPr lvl="1">
              <a:lnSpc>
                <a:spcPct val="1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Event</a:t>
            </a:r>
            <a:r>
              <a:rPr lang="en-US" dirty="0"/>
              <a:t>: a list of properties with timestamp</a:t>
            </a:r>
          </a:p>
          <a:p>
            <a:pPr lvl="1">
              <a:lnSpc>
                <a:spcPct val="1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Operation</a:t>
            </a:r>
            <a:r>
              <a:rPr lang="en-US" dirty="0"/>
              <a:t>: interaction possibilities with the described asset</a:t>
            </a:r>
          </a:p>
          <a:p>
            <a:pPr lvl="1">
              <a:lnSpc>
                <a:spcPct val="1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Property</a:t>
            </a:r>
            <a:r>
              <a:rPr lang="en-US" dirty="0"/>
              <a:t>: attribute of function block</a:t>
            </a:r>
          </a:p>
        </p:txBody>
      </p:sp>
      <p:grpSp>
        <p:nvGrpSpPr>
          <p:cNvPr id="152" name="Gruppieren 151">
            <a:extLst>
              <a:ext uri="{FF2B5EF4-FFF2-40B4-BE49-F238E27FC236}">
                <a16:creationId xmlns:a16="http://schemas.microsoft.com/office/drawing/2014/main" id="{D7438D47-6CE3-4904-7B69-692094A9D1F5}"/>
              </a:ext>
            </a:extLst>
          </p:cNvPr>
          <p:cNvGrpSpPr/>
          <p:nvPr/>
        </p:nvGrpSpPr>
        <p:grpSpPr>
          <a:xfrm>
            <a:off x="4187309" y="1804253"/>
            <a:ext cx="4638396" cy="3080793"/>
            <a:chOff x="4037290" y="1168186"/>
            <a:chExt cx="4638396" cy="3080793"/>
          </a:xfrm>
        </p:grpSpPr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8012BC2D-83A5-C578-77F0-A36B669E4924}"/>
                </a:ext>
              </a:extLst>
            </p:cNvPr>
            <p:cNvSpPr/>
            <p:nvPr/>
          </p:nvSpPr>
          <p:spPr>
            <a:xfrm>
              <a:off x="4915716" y="1168186"/>
              <a:ext cx="1820061" cy="252000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InformationModel</a:t>
              </a:r>
              <a:endParaRPr lang="de-AT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2920B3BF-C513-FA8D-A5A0-951ED649ACC1}"/>
                </a:ext>
              </a:extLst>
            </p:cNvPr>
            <p:cNvSpPr/>
            <p:nvPr/>
          </p:nvSpPr>
          <p:spPr>
            <a:xfrm>
              <a:off x="4924087" y="2826842"/>
              <a:ext cx="1810148" cy="440663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FunctionBlock</a:t>
              </a:r>
              <a:endParaRPr lang="de-AT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79B52BF2-279D-BE42-95BF-E4A7C318EF25}"/>
                </a:ext>
              </a:extLst>
            </p:cNvPr>
            <p:cNvSpPr txBox="1"/>
            <p:nvPr/>
          </p:nvSpPr>
          <p:spPr>
            <a:xfrm>
              <a:off x="5597853" y="1530166"/>
              <a:ext cx="2343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/>
              </a:lvl1pPr>
            </a:lstStyle>
            <a:p>
              <a:r>
                <a:rPr lang="de-AT" sz="1000" dirty="0"/>
                <a:t>*</a:t>
              </a:r>
            </a:p>
          </p:txBody>
        </p:sp>
        <p:cxnSp>
          <p:nvCxnSpPr>
            <p:cNvPr id="86" name="Verbinder: gewinkelt 98">
              <a:extLst>
                <a:ext uri="{FF2B5EF4-FFF2-40B4-BE49-F238E27FC236}">
                  <a16:creationId xmlns:a16="http://schemas.microsoft.com/office/drawing/2014/main" id="{4F31B322-2C67-18D5-8C46-2CB7A198E2C3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4921206" y="2258730"/>
              <a:ext cx="4355" cy="148633"/>
            </a:xfrm>
            <a:prstGeom prst="bentConnector4">
              <a:avLst>
                <a:gd name="adj1" fmla="val -5249139"/>
                <a:gd name="adj2" fmla="val 96232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DB508940-D2EC-FC43-036F-7D50238C6BAC}"/>
                </a:ext>
              </a:extLst>
            </p:cNvPr>
            <p:cNvSpPr txBox="1"/>
            <p:nvPr/>
          </p:nvSpPr>
          <p:spPr>
            <a:xfrm>
              <a:off x="4353088" y="2010729"/>
              <a:ext cx="78739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/>
              </a:lvl1pPr>
            </a:lstStyle>
            <a:p>
              <a:r>
                <a:rPr lang="de-AT" sz="1000" dirty="0" err="1"/>
                <a:t>superType</a:t>
              </a:r>
              <a:endParaRPr lang="de-AT" sz="1000" dirty="0"/>
            </a:p>
            <a:p>
              <a:r>
                <a:rPr lang="de-AT" sz="1000" dirty="0"/>
                <a:t>0..1 </a:t>
              </a:r>
            </a:p>
          </p:txBody>
        </p:sp>
        <p:sp>
          <p:nvSpPr>
            <p:cNvPr id="94" name="Rechteck 93">
              <a:extLst>
                <a:ext uri="{FF2B5EF4-FFF2-40B4-BE49-F238E27FC236}">
                  <a16:creationId xmlns:a16="http://schemas.microsoft.com/office/drawing/2014/main" id="{54622F4D-570B-AEEB-387F-1A3C68ACF500}"/>
                </a:ext>
              </a:extLst>
            </p:cNvPr>
            <p:cNvSpPr/>
            <p:nvPr/>
          </p:nvSpPr>
          <p:spPr>
            <a:xfrm>
              <a:off x="4862548" y="3653491"/>
              <a:ext cx="963199" cy="251999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Event</a:t>
              </a: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A4DAA6EA-92C4-BCF2-CF6A-170F5120874E}"/>
                </a:ext>
              </a:extLst>
            </p:cNvPr>
            <p:cNvSpPr/>
            <p:nvPr/>
          </p:nvSpPr>
          <p:spPr>
            <a:xfrm>
              <a:off x="5961821" y="3655972"/>
              <a:ext cx="965750" cy="252000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Operation</a:t>
              </a: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9DBFBE69-82FC-F3DE-BED9-5743EC6492BC}"/>
                </a:ext>
              </a:extLst>
            </p:cNvPr>
            <p:cNvSpPr/>
            <p:nvPr/>
          </p:nvSpPr>
          <p:spPr>
            <a:xfrm>
              <a:off x="7063138" y="3678137"/>
              <a:ext cx="1207976" cy="227355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25" dirty="0">
                  <a:latin typeface="Arial" panose="020B0604020202020204" pitchFamily="34" charset="0"/>
                  <a:cs typeface="Arial" panose="020B0604020202020204" pitchFamily="34" charset="0"/>
                </a:rPr>
                <a:t>Property</a:t>
              </a:r>
            </a:p>
          </p:txBody>
        </p:sp>
        <p:cxnSp>
          <p:nvCxnSpPr>
            <p:cNvPr id="102" name="Verbinder: gewinkelt 98">
              <a:extLst>
                <a:ext uri="{FF2B5EF4-FFF2-40B4-BE49-F238E27FC236}">
                  <a16:creationId xmlns:a16="http://schemas.microsoft.com/office/drawing/2014/main" id="{1A19B840-60F1-537D-3019-58C034EFC11B}"/>
                </a:ext>
              </a:extLst>
            </p:cNvPr>
            <p:cNvCxnSpPr>
              <a:cxnSpLocks/>
              <a:stCxn id="125" idx="2"/>
              <a:endCxn id="131" idx="0"/>
            </p:cNvCxnSpPr>
            <p:nvPr/>
          </p:nvCxnSpPr>
          <p:spPr>
            <a:xfrm>
              <a:off x="6877040" y="2889625"/>
              <a:ext cx="1289760" cy="791078"/>
            </a:xfrm>
            <a:prstGeom prst="bentConnector2">
              <a:avLst/>
            </a:prstGeom>
            <a:solidFill>
              <a:schemeClr val="tx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grpSp>
          <p:nvGrpSpPr>
            <p:cNvPr id="103" name="Gruppieren 102">
              <a:extLst>
                <a:ext uri="{FF2B5EF4-FFF2-40B4-BE49-F238E27FC236}">
                  <a16:creationId xmlns:a16="http://schemas.microsoft.com/office/drawing/2014/main" id="{569862D0-CB29-A8B6-6D23-1DECF8CB246A}"/>
                </a:ext>
              </a:extLst>
            </p:cNvPr>
            <p:cNvGrpSpPr/>
            <p:nvPr/>
          </p:nvGrpSpPr>
          <p:grpSpPr>
            <a:xfrm rot="16200000">
              <a:off x="6857507" y="2868518"/>
              <a:ext cx="693583" cy="925655"/>
              <a:chOff x="5229232" y="-4561879"/>
              <a:chExt cx="1077979" cy="2651571"/>
            </a:xfrm>
          </p:grpSpPr>
          <p:sp>
            <p:nvSpPr>
              <p:cNvPr id="104" name="Raute 103">
                <a:extLst>
                  <a:ext uri="{FF2B5EF4-FFF2-40B4-BE49-F238E27FC236}">
                    <a16:creationId xmlns:a16="http://schemas.microsoft.com/office/drawing/2014/main" id="{3AC5D0A4-A311-6F80-391A-1A08F28AAEC1}"/>
                  </a:ext>
                </a:extLst>
              </p:cNvPr>
              <p:cNvSpPr/>
              <p:nvPr/>
            </p:nvSpPr>
            <p:spPr>
              <a:xfrm flipH="1">
                <a:off x="6149849" y="-4561879"/>
                <a:ext cx="157362" cy="388332"/>
              </a:xfrm>
              <a:prstGeom prst="diamond">
                <a:avLst/>
              </a:prstGeom>
              <a:solidFill>
                <a:schemeClr val="tx1"/>
              </a:solidFill>
              <a:ln w="1270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  <p:txBody>
              <a:bodyPr rtlCol="0" anchor="ctr"/>
              <a:lstStyle/>
              <a:p>
                <a:pPr algn="ctr"/>
                <a:endParaRPr lang="de-AT" sz="101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05" name="Verbinder: gewinkelt 98">
                <a:extLst>
                  <a:ext uri="{FF2B5EF4-FFF2-40B4-BE49-F238E27FC236}">
                    <a16:creationId xmlns:a16="http://schemas.microsoft.com/office/drawing/2014/main" id="{44516F35-D818-1C78-6C5C-50297376EFB2}"/>
                  </a:ext>
                </a:extLst>
              </p:cNvPr>
              <p:cNvCxnSpPr>
                <a:cxnSpLocks/>
                <a:stCxn id="104" idx="2"/>
                <a:endCxn id="100" idx="0"/>
              </p:cNvCxnSpPr>
              <p:nvPr/>
            </p:nvCxnSpPr>
            <p:spPr>
              <a:xfrm rot="5400000">
                <a:off x="4597261" y="-3541576"/>
                <a:ext cx="2263239" cy="999297"/>
              </a:xfrm>
              <a:prstGeom prst="bentConnector2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</p:cxnSp>
        </p:grpSp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8B65E0A9-AE2C-87DA-2432-3FED2764141E}"/>
                </a:ext>
              </a:extLst>
            </p:cNvPr>
            <p:cNvGrpSpPr/>
            <p:nvPr/>
          </p:nvGrpSpPr>
          <p:grpSpPr>
            <a:xfrm rot="16200000">
              <a:off x="6744226" y="3144925"/>
              <a:ext cx="530450" cy="541104"/>
              <a:chOff x="5842394" y="-4599886"/>
              <a:chExt cx="824441" cy="1540108"/>
            </a:xfrm>
          </p:grpSpPr>
          <p:sp>
            <p:nvSpPr>
              <p:cNvPr id="107" name="Raute 106">
                <a:extLst>
                  <a:ext uri="{FF2B5EF4-FFF2-40B4-BE49-F238E27FC236}">
                    <a16:creationId xmlns:a16="http://schemas.microsoft.com/office/drawing/2014/main" id="{A2A518C3-7F9A-F934-DAEC-399FC051A318}"/>
                  </a:ext>
                </a:extLst>
              </p:cNvPr>
              <p:cNvSpPr/>
              <p:nvPr/>
            </p:nvSpPr>
            <p:spPr>
              <a:xfrm flipH="1">
                <a:off x="6509471" y="-4599886"/>
                <a:ext cx="157364" cy="388329"/>
              </a:xfrm>
              <a:prstGeom prst="diamond">
                <a:avLst/>
              </a:prstGeom>
              <a:solidFill>
                <a:schemeClr val="tx1"/>
              </a:solidFill>
              <a:ln w="1270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  <p:txBody>
              <a:bodyPr rtlCol="0" anchor="ctr"/>
              <a:lstStyle/>
              <a:p>
                <a:pPr algn="ctr"/>
                <a:endParaRPr lang="de-AT" sz="101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08" name="Verbinder: gewinkelt 98">
                <a:extLst>
                  <a:ext uri="{FF2B5EF4-FFF2-40B4-BE49-F238E27FC236}">
                    <a16:creationId xmlns:a16="http://schemas.microsoft.com/office/drawing/2014/main" id="{5497E687-9CD9-B87D-48E1-42728E46482E}"/>
                  </a:ext>
                </a:extLst>
              </p:cNvPr>
              <p:cNvCxnSpPr>
                <a:cxnSpLocks/>
                <a:stCxn id="107" idx="2"/>
                <a:endCxn id="130" idx="0"/>
              </p:cNvCxnSpPr>
              <p:nvPr/>
            </p:nvCxnSpPr>
            <p:spPr>
              <a:xfrm rot="5400000">
                <a:off x="5639384" y="-4008545"/>
                <a:ext cx="1151777" cy="745758"/>
              </a:xfrm>
              <a:prstGeom prst="bentConnector2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</p:cxnSp>
        </p:grpSp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134572E3-AF4F-004F-EE19-AEACD5D1DE85}"/>
                </a:ext>
              </a:extLst>
            </p:cNvPr>
            <p:cNvSpPr txBox="1"/>
            <p:nvPr/>
          </p:nvSpPr>
          <p:spPr>
            <a:xfrm>
              <a:off x="6800696" y="3283872"/>
              <a:ext cx="6818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1000" dirty="0" err="1"/>
                <a:t>status</a:t>
              </a:r>
              <a:r>
                <a:rPr lang="de-AT" sz="1000" dirty="0"/>
                <a:t>  *</a:t>
              </a:r>
            </a:p>
          </p:txBody>
        </p:sp>
        <p:sp>
          <p:nvSpPr>
            <p:cNvPr id="110" name="Textfeld 109">
              <a:extLst>
                <a:ext uri="{FF2B5EF4-FFF2-40B4-BE49-F238E27FC236}">
                  <a16:creationId xmlns:a16="http://schemas.microsoft.com/office/drawing/2014/main" id="{A1E0E310-7277-F93F-BB38-7796BFB3FFC5}"/>
                </a:ext>
              </a:extLst>
            </p:cNvPr>
            <p:cNvSpPr txBox="1"/>
            <p:nvPr/>
          </p:nvSpPr>
          <p:spPr>
            <a:xfrm>
              <a:off x="7496441" y="3290904"/>
              <a:ext cx="54193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1000" dirty="0"/>
                <a:t>*  fault</a:t>
              </a:r>
            </a:p>
          </p:txBody>
        </p:sp>
        <p:sp>
          <p:nvSpPr>
            <p:cNvPr id="111" name="Textfeld 110">
              <a:extLst>
                <a:ext uri="{FF2B5EF4-FFF2-40B4-BE49-F238E27FC236}">
                  <a16:creationId xmlns:a16="http://schemas.microsoft.com/office/drawing/2014/main" id="{CB10DC1D-49DB-7BC5-FFC3-F68AB5588BD5}"/>
                </a:ext>
              </a:extLst>
            </p:cNvPr>
            <p:cNvSpPr txBox="1"/>
            <p:nvPr/>
          </p:nvSpPr>
          <p:spPr>
            <a:xfrm>
              <a:off x="7989136" y="3282746"/>
              <a:ext cx="68655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1000" dirty="0"/>
                <a:t>*  </a:t>
              </a:r>
              <a:r>
                <a:rPr lang="de-AT" sz="1000" dirty="0" err="1"/>
                <a:t>config</a:t>
              </a:r>
              <a:endParaRPr lang="de-AT" sz="1000" dirty="0"/>
            </a:p>
          </p:txBody>
        </p:sp>
        <p:grpSp>
          <p:nvGrpSpPr>
            <p:cNvPr id="112" name="Gruppieren 111">
              <a:extLst>
                <a:ext uri="{FF2B5EF4-FFF2-40B4-BE49-F238E27FC236}">
                  <a16:creationId xmlns:a16="http://schemas.microsoft.com/office/drawing/2014/main" id="{1B1F2288-E168-95B1-F4E4-C5DE1479E8B2}"/>
                </a:ext>
              </a:extLst>
            </p:cNvPr>
            <p:cNvGrpSpPr/>
            <p:nvPr/>
          </p:nvGrpSpPr>
          <p:grpSpPr>
            <a:xfrm>
              <a:off x="5292516" y="3905494"/>
              <a:ext cx="2374611" cy="156129"/>
              <a:chOff x="4603806" y="8274618"/>
              <a:chExt cx="3690623" cy="438479"/>
            </a:xfrm>
          </p:grpSpPr>
          <p:sp>
            <p:nvSpPr>
              <p:cNvPr id="113" name="Raute 112">
                <a:extLst>
                  <a:ext uri="{FF2B5EF4-FFF2-40B4-BE49-F238E27FC236}">
                    <a16:creationId xmlns:a16="http://schemas.microsoft.com/office/drawing/2014/main" id="{F077DAE5-D6E1-5818-ADC8-7EDD2C28B803}"/>
                  </a:ext>
                </a:extLst>
              </p:cNvPr>
              <p:cNvSpPr/>
              <p:nvPr/>
            </p:nvSpPr>
            <p:spPr>
              <a:xfrm flipH="1">
                <a:off x="4603806" y="8314999"/>
                <a:ext cx="157363" cy="398097"/>
              </a:xfrm>
              <a:prstGeom prst="diamond">
                <a:avLst/>
              </a:prstGeom>
              <a:solidFill>
                <a:schemeClr val="tx1"/>
              </a:solidFill>
              <a:ln w="1270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  <p:txBody>
              <a:bodyPr rtlCol="0" anchor="ctr"/>
              <a:lstStyle/>
              <a:p>
                <a:pPr algn="ctr"/>
                <a:endParaRPr lang="de-AT" sz="1013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4" name="Verbinder: gewinkelt 98">
                <a:extLst>
                  <a:ext uri="{FF2B5EF4-FFF2-40B4-BE49-F238E27FC236}">
                    <a16:creationId xmlns:a16="http://schemas.microsoft.com/office/drawing/2014/main" id="{5FEAC4F3-DCFF-322C-AF0C-B700FB7787E3}"/>
                  </a:ext>
                </a:extLst>
              </p:cNvPr>
              <p:cNvCxnSpPr>
                <a:cxnSpLocks/>
                <a:stCxn id="113" idx="2"/>
                <a:endCxn id="100" idx="2"/>
              </p:cNvCxnSpPr>
              <p:nvPr/>
            </p:nvCxnSpPr>
            <p:spPr>
              <a:xfrm rot="5400000" flipH="1" flipV="1">
                <a:off x="6269218" y="6687887"/>
                <a:ext cx="438479" cy="3611942"/>
              </a:xfrm>
              <a:prstGeom prst="bentConnector3">
                <a:avLst>
                  <a:gd name="adj1" fmla="val -146417"/>
                </a:avLst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</p:cxnSp>
        </p:grpSp>
        <p:sp>
          <p:nvSpPr>
            <p:cNvPr id="115" name="Raute 114">
              <a:extLst>
                <a:ext uri="{FF2B5EF4-FFF2-40B4-BE49-F238E27FC236}">
                  <a16:creationId xmlns:a16="http://schemas.microsoft.com/office/drawing/2014/main" id="{1DF1414E-5547-18DE-7ED9-0DD31153A792}"/>
                </a:ext>
              </a:extLst>
            </p:cNvPr>
            <p:cNvSpPr/>
            <p:nvPr/>
          </p:nvSpPr>
          <p:spPr>
            <a:xfrm flipH="1">
              <a:off x="6394071" y="3282746"/>
              <a:ext cx="101250" cy="141750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4"/>
              </a:pPr>
              <a:endParaRPr lang="de-AT" sz="1125" dirty="0">
                <a:solidFill>
                  <a:schemeClr val="dk1"/>
                </a:solidFill>
                <a:latin typeface="Arial"/>
                <a:cs typeface="Arial"/>
              </a:endParaRPr>
            </a:p>
          </p:txBody>
        </p:sp>
        <p:sp>
          <p:nvSpPr>
            <p:cNvPr id="119" name="Textfeld 118">
              <a:extLst>
                <a:ext uri="{FF2B5EF4-FFF2-40B4-BE49-F238E27FC236}">
                  <a16:creationId xmlns:a16="http://schemas.microsoft.com/office/drawing/2014/main" id="{7A5A08B8-DB1B-B7AE-C172-AAF04B8C22B8}"/>
                </a:ext>
              </a:extLst>
            </p:cNvPr>
            <p:cNvSpPr txBox="1"/>
            <p:nvPr/>
          </p:nvSpPr>
          <p:spPr>
            <a:xfrm>
              <a:off x="7617580" y="4002758"/>
              <a:ext cx="2343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AT" sz="1000" dirty="0"/>
                <a:t>*</a:t>
              </a:r>
            </a:p>
          </p:txBody>
        </p: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F280E16A-5244-ED46-2652-2EA416949303}"/>
                </a:ext>
              </a:extLst>
            </p:cNvPr>
            <p:cNvSpPr txBox="1"/>
            <p:nvPr/>
          </p:nvSpPr>
          <p:spPr>
            <a:xfrm>
              <a:off x="6218709" y="3385233"/>
              <a:ext cx="2343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AT" sz="1000" dirty="0"/>
                <a:t>*</a:t>
              </a:r>
            </a:p>
          </p:txBody>
        </p:sp>
        <p:cxnSp>
          <p:nvCxnSpPr>
            <p:cNvPr id="124" name="Gerader Verbinder 123">
              <a:extLst>
                <a:ext uri="{FF2B5EF4-FFF2-40B4-BE49-F238E27FC236}">
                  <a16:creationId xmlns:a16="http://schemas.microsoft.com/office/drawing/2014/main" id="{DE617D49-B349-A284-8A61-C6B0016342E5}"/>
                </a:ext>
              </a:extLst>
            </p:cNvPr>
            <p:cNvCxnSpPr>
              <a:cxnSpLocks/>
              <a:stCxn id="115" idx="2"/>
              <a:endCxn id="97" idx="0"/>
            </p:cNvCxnSpPr>
            <p:nvPr/>
          </p:nvCxnSpPr>
          <p:spPr>
            <a:xfrm>
              <a:off x="6444696" y="3424496"/>
              <a:ext cx="0" cy="231476"/>
            </a:xfrm>
            <a:prstGeom prst="line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125" name="Raute 124">
              <a:extLst>
                <a:ext uri="{FF2B5EF4-FFF2-40B4-BE49-F238E27FC236}">
                  <a16:creationId xmlns:a16="http://schemas.microsoft.com/office/drawing/2014/main" id="{6D736F6D-7F3B-6BA6-AF39-675056237AD6}"/>
                </a:ext>
              </a:extLst>
            </p:cNvPr>
            <p:cNvSpPr/>
            <p:nvPr/>
          </p:nvSpPr>
          <p:spPr>
            <a:xfrm rot="16200000" flipH="1">
              <a:off x="6758632" y="2821842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29" name="Gerade Verbindung mit Pfeil 128">
              <a:extLst>
                <a:ext uri="{FF2B5EF4-FFF2-40B4-BE49-F238E27FC236}">
                  <a16:creationId xmlns:a16="http://schemas.microsoft.com/office/drawing/2014/main" id="{DFEB1EDF-EE92-83A3-ACD4-CCEC59E5A612}"/>
                </a:ext>
              </a:extLst>
            </p:cNvPr>
            <p:cNvCxnSpPr>
              <a:cxnSpLocks/>
              <a:stCxn id="211" idx="2"/>
              <a:endCxn id="203" idx="0"/>
            </p:cNvCxnSpPr>
            <p:nvPr/>
          </p:nvCxnSpPr>
          <p:spPr>
            <a:xfrm>
              <a:off x="5825746" y="1568568"/>
              <a:ext cx="3670" cy="175907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10870BE9-0E48-FFA8-6D09-7FB10152C8C3}"/>
                </a:ext>
              </a:extLst>
            </p:cNvPr>
            <p:cNvSpPr/>
            <p:nvPr/>
          </p:nvSpPr>
          <p:spPr>
            <a:xfrm>
              <a:off x="6993795" y="3680704"/>
              <a:ext cx="541938" cy="2135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sz="1100"/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BC04C5C3-DF6B-20CE-3B45-2F39EAA92737}"/>
                </a:ext>
              </a:extLst>
            </p:cNvPr>
            <p:cNvSpPr/>
            <p:nvPr/>
          </p:nvSpPr>
          <p:spPr>
            <a:xfrm>
              <a:off x="7990146" y="3680703"/>
              <a:ext cx="353308" cy="2135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/>
            </a:p>
          </p:txBody>
        </p:sp>
        <p:sp>
          <p:nvSpPr>
            <p:cNvPr id="182" name="Raute 181">
              <a:extLst>
                <a:ext uri="{FF2B5EF4-FFF2-40B4-BE49-F238E27FC236}">
                  <a16:creationId xmlns:a16="http://schemas.microsoft.com/office/drawing/2014/main" id="{F869AB39-7298-43B9-2F83-ABF0C8E677E8}"/>
                </a:ext>
              </a:extLst>
            </p:cNvPr>
            <p:cNvSpPr/>
            <p:nvPr/>
          </p:nvSpPr>
          <p:spPr>
            <a:xfrm flipH="1">
              <a:off x="5292516" y="3275104"/>
              <a:ext cx="101250" cy="141750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4"/>
              </a:pPr>
              <a:endParaRPr lang="de-AT" sz="1125" dirty="0">
                <a:solidFill>
                  <a:schemeClr val="dk1"/>
                </a:solidFill>
                <a:latin typeface="Arial"/>
                <a:cs typeface="Arial"/>
              </a:endParaRPr>
            </a:p>
          </p:txBody>
        </p:sp>
        <p:sp>
          <p:nvSpPr>
            <p:cNvPr id="183" name="Textfeld 182">
              <a:extLst>
                <a:ext uri="{FF2B5EF4-FFF2-40B4-BE49-F238E27FC236}">
                  <a16:creationId xmlns:a16="http://schemas.microsoft.com/office/drawing/2014/main" id="{0404C905-CB86-591C-DABA-62C34C1E892C}"/>
                </a:ext>
              </a:extLst>
            </p:cNvPr>
            <p:cNvSpPr txBox="1"/>
            <p:nvPr/>
          </p:nvSpPr>
          <p:spPr>
            <a:xfrm>
              <a:off x="5117154" y="3371241"/>
              <a:ext cx="2343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AT" sz="1000" dirty="0"/>
                <a:t>*</a:t>
              </a:r>
            </a:p>
          </p:txBody>
        </p:sp>
        <p:cxnSp>
          <p:nvCxnSpPr>
            <p:cNvPr id="184" name="Gerader Verbinder 183">
              <a:extLst>
                <a:ext uri="{FF2B5EF4-FFF2-40B4-BE49-F238E27FC236}">
                  <a16:creationId xmlns:a16="http://schemas.microsoft.com/office/drawing/2014/main" id="{123541DE-BE4F-BD54-BBEE-96F51E50AAA3}"/>
                </a:ext>
              </a:extLst>
            </p:cNvPr>
            <p:cNvCxnSpPr>
              <a:cxnSpLocks/>
              <a:stCxn id="182" idx="2"/>
              <a:endCxn id="94" idx="0"/>
            </p:cNvCxnSpPr>
            <p:nvPr/>
          </p:nvCxnSpPr>
          <p:spPr>
            <a:xfrm>
              <a:off x="5343141" y="3416854"/>
              <a:ext cx="1007" cy="236637"/>
            </a:xfrm>
            <a:prstGeom prst="line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84102B02-5B9E-F546-9151-2B6AC31B568D}"/>
                </a:ext>
              </a:extLst>
            </p:cNvPr>
            <p:cNvSpPr/>
            <p:nvPr/>
          </p:nvSpPr>
          <p:spPr>
            <a:xfrm>
              <a:off x="4919385" y="1744475"/>
              <a:ext cx="1820061" cy="252000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FunctionBlockProperty</a:t>
              </a:r>
              <a:endParaRPr lang="de-AT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E056882D-13FD-541D-FBA0-629FAB401874}"/>
                </a:ext>
              </a:extLst>
            </p:cNvPr>
            <p:cNvSpPr/>
            <p:nvPr/>
          </p:nvSpPr>
          <p:spPr>
            <a:xfrm>
              <a:off x="4922066" y="2226358"/>
              <a:ext cx="1820061" cy="252000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FunctionBlockModel</a:t>
              </a:r>
              <a:endParaRPr lang="de-AT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6" name="Gerade Verbindung mit Pfeil 205">
              <a:extLst>
                <a:ext uri="{FF2B5EF4-FFF2-40B4-BE49-F238E27FC236}">
                  <a16:creationId xmlns:a16="http://schemas.microsoft.com/office/drawing/2014/main" id="{1DE716F1-D7FA-AF55-6B0D-B4778A79A0EE}"/>
                </a:ext>
              </a:extLst>
            </p:cNvPr>
            <p:cNvCxnSpPr>
              <a:cxnSpLocks/>
              <a:stCxn id="203" idx="2"/>
              <a:endCxn id="205" idx="0"/>
            </p:cNvCxnSpPr>
            <p:nvPr/>
          </p:nvCxnSpPr>
          <p:spPr>
            <a:xfrm>
              <a:off x="5829416" y="1996475"/>
              <a:ext cx="2681" cy="229883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09" name="Textfeld 208">
              <a:extLst>
                <a:ext uri="{FF2B5EF4-FFF2-40B4-BE49-F238E27FC236}">
                  <a16:creationId xmlns:a16="http://schemas.microsoft.com/office/drawing/2014/main" id="{03054E13-E1A5-04D5-EE8E-16DA0338221E}"/>
                </a:ext>
              </a:extLst>
            </p:cNvPr>
            <p:cNvSpPr txBox="1"/>
            <p:nvPr/>
          </p:nvSpPr>
          <p:spPr>
            <a:xfrm>
              <a:off x="5854243" y="1987510"/>
              <a:ext cx="67197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/>
              </a:lvl1pPr>
            </a:lstStyle>
            <a:p>
              <a:r>
                <a:rPr lang="de-AT" sz="1000" dirty="0"/>
                <a:t>0..1 type</a:t>
              </a:r>
            </a:p>
          </p:txBody>
        </p:sp>
        <p:sp>
          <p:nvSpPr>
            <p:cNvPr id="211" name="Raute 210">
              <a:extLst>
                <a:ext uri="{FF2B5EF4-FFF2-40B4-BE49-F238E27FC236}">
                  <a16:creationId xmlns:a16="http://schemas.microsoft.com/office/drawing/2014/main" id="{D7DE9967-C691-BA8C-AEB7-63F05DDA8637}"/>
                </a:ext>
              </a:extLst>
            </p:cNvPr>
            <p:cNvSpPr/>
            <p:nvPr/>
          </p:nvSpPr>
          <p:spPr>
            <a:xfrm flipH="1">
              <a:off x="5775121" y="1426818"/>
              <a:ext cx="101250" cy="141750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4"/>
              </a:pPr>
              <a:endParaRPr lang="de-AT" sz="1125" dirty="0">
                <a:solidFill>
                  <a:schemeClr val="dk1"/>
                </a:solidFill>
                <a:latin typeface="Arial"/>
                <a:cs typeface="Arial"/>
              </a:endParaRPr>
            </a:p>
          </p:txBody>
        </p:sp>
        <p:sp>
          <p:nvSpPr>
            <p:cNvPr id="213" name="Raute 212">
              <a:extLst>
                <a:ext uri="{FF2B5EF4-FFF2-40B4-BE49-F238E27FC236}">
                  <a16:creationId xmlns:a16="http://schemas.microsoft.com/office/drawing/2014/main" id="{450043DA-D68D-4722-8148-3AB3F3FCF13C}"/>
                </a:ext>
              </a:extLst>
            </p:cNvPr>
            <p:cNvSpPr/>
            <p:nvPr/>
          </p:nvSpPr>
          <p:spPr>
            <a:xfrm flipH="1">
              <a:off x="5781471" y="2487929"/>
              <a:ext cx="101250" cy="141750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4"/>
              </a:pPr>
              <a:endParaRPr lang="de-AT" sz="1125" dirty="0">
                <a:solidFill>
                  <a:schemeClr val="dk1"/>
                </a:solidFill>
                <a:latin typeface="Arial"/>
                <a:cs typeface="Arial"/>
              </a:endParaRPr>
            </a:p>
          </p:txBody>
        </p:sp>
        <p:cxnSp>
          <p:nvCxnSpPr>
            <p:cNvPr id="214" name="Gerade Verbindung mit Pfeil 213">
              <a:extLst>
                <a:ext uri="{FF2B5EF4-FFF2-40B4-BE49-F238E27FC236}">
                  <a16:creationId xmlns:a16="http://schemas.microsoft.com/office/drawing/2014/main" id="{15EA2ABD-E914-97A2-072D-0A8127F66180}"/>
                </a:ext>
              </a:extLst>
            </p:cNvPr>
            <p:cNvCxnSpPr>
              <a:cxnSpLocks/>
              <a:stCxn id="213" idx="2"/>
              <a:endCxn id="70" idx="0"/>
            </p:cNvCxnSpPr>
            <p:nvPr/>
          </p:nvCxnSpPr>
          <p:spPr>
            <a:xfrm flipH="1">
              <a:off x="5829161" y="2629679"/>
              <a:ext cx="2935" cy="197163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19" name="Raute 218">
              <a:extLst>
                <a:ext uri="{FF2B5EF4-FFF2-40B4-BE49-F238E27FC236}">
                  <a16:creationId xmlns:a16="http://schemas.microsoft.com/office/drawing/2014/main" id="{8A643618-0091-9478-FA6B-A04986BB3A3A}"/>
                </a:ext>
              </a:extLst>
            </p:cNvPr>
            <p:cNvSpPr/>
            <p:nvPr/>
          </p:nvSpPr>
          <p:spPr>
            <a:xfrm rot="16200000" flipH="1">
              <a:off x="4798096" y="1808179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20" name="Verbinder: gewinkelt 98">
              <a:extLst>
                <a:ext uri="{FF2B5EF4-FFF2-40B4-BE49-F238E27FC236}">
                  <a16:creationId xmlns:a16="http://schemas.microsoft.com/office/drawing/2014/main" id="{F0C82D06-704C-7115-11C7-D2AAA7EB05D7}"/>
                </a:ext>
              </a:extLst>
            </p:cNvPr>
            <p:cNvCxnSpPr>
              <a:cxnSpLocks/>
              <a:stCxn id="219" idx="0"/>
              <a:endCxn id="70" idx="1"/>
            </p:cNvCxnSpPr>
            <p:nvPr/>
          </p:nvCxnSpPr>
          <p:spPr>
            <a:xfrm rot="10800000" flipH="1" flipV="1">
              <a:off x="4780939" y="1875962"/>
              <a:ext cx="143148" cy="1171212"/>
            </a:xfrm>
            <a:prstGeom prst="bentConnector3">
              <a:avLst>
                <a:gd name="adj1" fmla="val -344666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25" name="Textfeld 224">
              <a:extLst>
                <a:ext uri="{FF2B5EF4-FFF2-40B4-BE49-F238E27FC236}">
                  <a16:creationId xmlns:a16="http://schemas.microsoft.com/office/drawing/2014/main" id="{2F881476-C928-DF45-38A0-16EDE968EE52}"/>
                </a:ext>
              </a:extLst>
            </p:cNvPr>
            <p:cNvSpPr txBox="1"/>
            <p:nvPr/>
          </p:nvSpPr>
          <p:spPr>
            <a:xfrm>
              <a:off x="4037290" y="3067452"/>
              <a:ext cx="98616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/>
              </a:lvl1pPr>
            </a:lstStyle>
            <a:p>
              <a:r>
                <a:rPr lang="de-AT" sz="1000" dirty="0"/>
                <a:t>0..1 </a:t>
              </a:r>
              <a:r>
                <a:rPr lang="de-AT" sz="1000" dirty="0" err="1"/>
                <a:t>extended</a:t>
              </a:r>
              <a:br>
                <a:rPr lang="de-AT" sz="1000" dirty="0"/>
              </a:br>
              <a:r>
                <a:rPr lang="de-AT" sz="1000" dirty="0" err="1"/>
                <a:t>FunctionBlock</a:t>
              </a:r>
              <a:endParaRPr lang="de-AT" sz="1000" dirty="0"/>
            </a:p>
          </p:txBody>
        </p:sp>
      </p:grpSp>
      <p:sp>
        <p:nvSpPr>
          <p:cNvPr id="52" name="Textfeld 51">
            <a:extLst>
              <a:ext uri="{FF2B5EF4-FFF2-40B4-BE49-F238E27FC236}">
                <a16:creationId xmlns:a16="http://schemas.microsoft.com/office/drawing/2014/main" id="{65ED15E4-E34C-5FE1-337F-FF39EFD4CD22}"/>
              </a:ext>
            </a:extLst>
          </p:cNvPr>
          <p:cNvSpPr txBox="1"/>
          <p:nvPr/>
        </p:nvSpPr>
        <p:spPr>
          <a:xfrm>
            <a:off x="5150010" y="4955053"/>
            <a:ext cx="51874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100" baseline="30000" dirty="0">
                <a:solidFill>
                  <a:srgbClr val="00B0F0"/>
                </a:solidFill>
                <a:latin typeface="NimbusRomNo9L-Regu"/>
              </a:rPr>
              <a:t>2</a:t>
            </a:r>
            <a:r>
              <a:rPr lang="en-US" sz="800" b="0" i="0" u="none" strike="noStrike" baseline="0" dirty="0">
                <a:solidFill>
                  <a:srgbClr val="00B0F0"/>
                </a:solidFill>
                <a:latin typeface="NimbusRomNo9L-Regu"/>
              </a:rPr>
              <a:t>https://github.com/eclipse/vorto/tree/development/core-bundles/meta-model.</a:t>
            </a:r>
            <a:endParaRPr lang="en-US" sz="8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9131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13582b3-d0ec-4024-8287-9a1e59dcf5c8"/>
  <p:tag name="EE4P_LANGUAGE_ID" val="1033"/>
</p:tagLst>
</file>

<file path=ppt/theme/theme1.xml><?xml version="1.0" encoding="utf-8"?>
<a:theme xmlns:a="http://schemas.openxmlformats.org/drawingml/2006/main" name="ISW Englisch Uni Stuttgart">
  <a:themeElements>
    <a:clrScheme name="US Bright Accent">
      <a:dk1>
        <a:srgbClr val="3E444C"/>
      </a:dk1>
      <a:lt1>
        <a:sysClr val="window" lastClr="FFFFFF"/>
      </a:lt1>
      <a:dk2>
        <a:srgbClr val="000000"/>
      </a:dk2>
      <a:lt2>
        <a:srgbClr val="9F9998"/>
      </a:lt2>
      <a:accent1>
        <a:srgbClr val="00BEFF"/>
      </a:accent1>
      <a:accent2>
        <a:srgbClr val="00519E"/>
      </a:accent2>
      <a:accent3>
        <a:srgbClr val="3E444C"/>
      </a:accent3>
      <a:accent4>
        <a:srgbClr val="7DC6EA"/>
      </a:accent4>
      <a:accent5>
        <a:srgbClr val="9F999A"/>
      </a:accent5>
      <a:accent6>
        <a:srgbClr val="FFD500"/>
      </a:accent6>
      <a:hlink>
        <a:srgbClr val="00BEFF"/>
      </a:hlink>
      <a:folHlink>
        <a:srgbClr val="3E444C"/>
      </a:folHlink>
    </a:clrScheme>
    <a:fontScheme name="Universitaet_Stuttgar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prstClr val="black"/>
          </a:solidFill>
        </a:ln>
      </a:spPr>
      <a:bodyPr rot="0" spcFirstLastPara="0" vertOverflow="overflow" horzOverflow="overflow" vert="horz" wrap="none" lIns="0" tIns="114300" rIns="0" bIns="1143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buAutoNum type="arabicPeriod"/>
          <a:defRPr sz="2400" smtClean="0">
            <a:solidFill>
              <a:schemeClr val="tx1">
                <a:lumMod val="100000"/>
              </a:schemeClr>
            </a:solidFill>
            <a:latin typeface="Arial (Headings)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spcCol="288000" rtlCol="0">
        <a:no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SW_EN.potx" id="{226CEBCC-A1E4-43D3-9991-47588204BF96}" vid="{1FE8A132-4CDB-44DD-83C6-FA194575C989}"/>
    </a:ext>
  </a:extLst>
</a:theme>
</file>

<file path=ppt/theme/theme2.xml><?xml version="1.0" encoding="utf-8"?>
<a:theme xmlns:a="http://schemas.openxmlformats.org/drawingml/2006/main" name="Office Theme">
  <a:themeElements>
    <a:clrScheme name="Universität Stuttgart Version 2">
      <a:dk1>
        <a:srgbClr val="323232"/>
      </a:dk1>
      <a:lt1>
        <a:sysClr val="window" lastClr="FFFFFF"/>
      </a:lt1>
      <a:dk2>
        <a:srgbClr val="000000"/>
      </a:dk2>
      <a:lt2>
        <a:srgbClr val="9F9998"/>
      </a:lt2>
      <a:accent1>
        <a:srgbClr val="00BEFF"/>
      </a:accent1>
      <a:accent2>
        <a:srgbClr val="004191"/>
      </a:accent2>
      <a:accent3>
        <a:srgbClr val="323232"/>
      </a:accent3>
      <a:accent4>
        <a:srgbClr val="7DC6EA"/>
      </a:accent4>
      <a:accent5>
        <a:srgbClr val="9F9998"/>
      </a:accent5>
      <a:accent6>
        <a:srgbClr val="FFD500"/>
      </a:accent6>
      <a:hlink>
        <a:srgbClr val="00BEFF"/>
      </a:hlink>
      <a:folHlink>
        <a:srgbClr val="524D4D"/>
      </a:folHlink>
    </a:clrScheme>
    <a:fontScheme name="Universität Stuttg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Universität Stuttgart Version 2">
      <a:dk1>
        <a:srgbClr val="323232"/>
      </a:dk1>
      <a:lt1>
        <a:sysClr val="window" lastClr="FFFFFF"/>
      </a:lt1>
      <a:dk2>
        <a:srgbClr val="000000"/>
      </a:dk2>
      <a:lt2>
        <a:srgbClr val="9F9998"/>
      </a:lt2>
      <a:accent1>
        <a:srgbClr val="00BEFF"/>
      </a:accent1>
      <a:accent2>
        <a:srgbClr val="004191"/>
      </a:accent2>
      <a:accent3>
        <a:srgbClr val="323232"/>
      </a:accent3>
      <a:accent4>
        <a:srgbClr val="7DC6EA"/>
      </a:accent4>
      <a:accent5>
        <a:srgbClr val="9F9998"/>
      </a:accent5>
      <a:accent6>
        <a:srgbClr val="FFD500"/>
      </a:accent6>
      <a:hlink>
        <a:srgbClr val="00BEFF"/>
      </a:hlink>
      <a:folHlink>
        <a:srgbClr val="524D4D"/>
      </a:folHlink>
    </a:clrScheme>
    <a:fontScheme name="Universität Stuttg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W_EN-Folienvorlage</Template>
  <TotalTime>0</TotalTime>
  <Words>2683</Words>
  <Application>Microsoft Office PowerPoint</Application>
  <PresentationFormat>Bildschirmpräsentation (16:10)</PresentationFormat>
  <Paragraphs>541</Paragraphs>
  <Slides>19</Slides>
  <Notes>1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7" baseType="lpstr">
      <vt:lpstr>Arial</vt:lpstr>
      <vt:lpstr>Arial (Headings)</vt:lpstr>
      <vt:lpstr>Calibri</vt:lpstr>
      <vt:lpstr>Consolas</vt:lpstr>
      <vt:lpstr>Courier New</vt:lpstr>
      <vt:lpstr>NimbusRomNo9L-Regu</vt:lpstr>
      <vt:lpstr>Wingdings</vt:lpstr>
      <vt:lpstr>ISW Englisch Uni Stuttgart</vt:lpstr>
      <vt:lpstr>Modeling Capabilities of Digital Twin Platforms – Old Wine in New Bottles?</vt:lpstr>
      <vt:lpstr>Motivation</vt:lpstr>
      <vt:lpstr>RQ1: What are the conceptual metamodels used by existing DT platforms?  RQ2: How do they relate to existing modeling concepts and standards?  RQ3: How can existing modeling concepts enable portability?</vt:lpstr>
      <vt:lpstr>Digital Twin Platforms</vt:lpstr>
      <vt:lpstr>Digital Twin Platforms</vt:lpstr>
      <vt:lpstr>Digital Twin Platforms</vt:lpstr>
      <vt:lpstr>RQ1: What are the conceptual metamodels used by existing DT platforms?</vt:lpstr>
      <vt:lpstr>RQ1: What are the conceptual metamodels used by existing DT platforms?</vt:lpstr>
      <vt:lpstr>RQ1: What are the conceptual metamodels used by existing DT platforms?</vt:lpstr>
      <vt:lpstr>RQ1: What are the conceptual metamodels used by existing DT platforms?</vt:lpstr>
      <vt:lpstr>RQ1: What are the conceptual metamodels used by existing DT platforms?</vt:lpstr>
      <vt:lpstr>RQ2: How do they relate to existing modeling concepts and standards?</vt:lpstr>
      <vt:lpstr>RQ2: How do they relate to existing modeling concepts and standards?</vt:lpstr>
      <vt:lpstr>RQ3: How can existing modeling concepts enable portability?</vt:lpstr>
      <vt:lpstr>RQ3: How can existing modeling concepts enable portability?</vt:lpstr>
      <vt:lpstr>RQ3: How can existing modeling concepts enable portability?</vt:lpstr>
      <vt:lpstr>RQ3: How can existing modeling concepts enable portability?</vt:lpstr>
      <vt:lpstr>Summary</vt:lpstr>
      <vt:lpstr>PowerPoint-Prä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2-24T13:18:26Z</dcterms:created>
  <dcterms:modified xsi:type="dcterms:W3CDTF">2022-06-30T14:30:41Z</dcterms:modified>
</cp:coreProperties>
</file>